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</p:sldMasterIdLst>
  <p:notesMasterIdLst>
    <p:notesMasterId r:id="rId10"/>
  </p:notesMasterIdLst>
  <p:handoutMasterIdLst>
    <p:handoutMasterId r:id="rId11"/>
  </p:handoutMasterIdLst>
  <p:sldIdLst>
    <p:sldId id="264" r:id="rId5"/>
    <p:sldId id="287" r:id="rId6"/>
    <p:sldId id="296" r:id="rId7"/>
    <p:sldId id="297" r:id="rId8"/>
    <p:sldId id="295" r:id="rId9"/>
  </p:sldIdLst>
  <p:sldSz cx="12192000" cy="6858000"/>
  <p:notesSz cx="6858000" cy="9144000"/>
  <p:embeddedFontLst>
    <p:embeddedFont>
      <p:font typeface="FK CARIAD Light" panose="020B0604020202020204" charset="0"/>
      <p:regular r:id="rId12"/>
      <p:italic r:id="rId13"/>
    </p:embeddedFont>
    <p:embeddedFont>
      <p:font typeface="Segoe UI" panose="020B0502040204020203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ehler, Jakob (VXE-1/1)" initials="KJ(" lastIdx="2" clrIdx="0">
    <p:extLst>
      <p:ext uri="{19B8F6BF-5375-455C-9EA6-DF929625EA0E}">
        <p15:presenceInfo xmlns:p15="http://schemas.microsoft.com/office/powerpoint/2012/main" userId="Kaehler, Jakob (VXE-1/1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5F9"/>
    <a:srgbClr val="E7D7FB"/>
    <a:srgbClr val="FFFFFF"/>
    <a:srgbClr val="1D0638"/>
    <a:srgbClr val="CDCDD2"/>
    <a:srgbClr val="373741"/>
    <a:srgbClr val="442EE0"/>
    <a:srgbClr val="1EEF97"/>
    <a:srgbClr val="FEF04A"/>
    <a:srgbClr val="EE4C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0A265B-B67E-4E93-B812-4DAD0C7CDC97}" v="1" dt="2025-01-07T03:41:58.2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071" autoAdjust="0"/>
  </p:normalViewPr>
  <p:slideViewPr>
    <p:cSldViewPr snapToGrid="0">
      <p:cViewPr varScale="1">
        <p:scale>
          <a:sx n="82" d="100"/>
          <a:sy n="82" d="100"/>
        </p:scale>
        <p:origin x="720" y="67"/>
      </p:cViewPr>
      <p:guideLst/>
    </p:cSldViewPr>
  </p:slideViewPr>
  <p:outlineViewPr>
    <p:cViewPr>
      <p:scale>
        <a:sx n="33" d="100"/>
        <a:sy n="33" d="100"/>
      </p:scale>
      <p:origin x="0" y="-1347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5" d="100"/>
          <a:sy n="45" d="100"/>
        </p:scale>
        <p:origin x="2760" y="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2.fntdata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font" Target="fonts/font4.fntdata"/><Relationship Id="rId23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3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yasankar Thippabattini" userId="44c3813e-352f-4090-9f7b-e2959a7f1f10" providerId="ADAL" clId="{010A265B-B67E-4E93-B812-4DAD0C7CDC97}"/>
    <pc:docChg chg="custSel delSld modSld">
      <pc:chgData name="Jayasankar Thippabattini" userId="44c3813e-352f-4090-9f7b-e2959a7f1f10" providerId="ADAL" clId="{010A265B-B67E-4E93-B812-4DAD0C7CDC97}" dt="2025-01-07T03:42:31.043" v="23" actId="2696"/>
      <pc:docMkLst>
        <pc:docMk/>
      </pc:docMkLst>
      <pc:sldChg chg="modSp mod">
        <pc:chgData name="Jayasankar Thippabattini" userId="44c3813e-352f-4090-9f7b-e2959a7f1f10" providerId="ADAL" clId="{010A265B-B67E-4E93-B812-4DAD0C7CDC97}" dt="2025-01-07T03:41:43.987" v="9" actId="20577"/>
        <pc:sldMkLst>
          <pc:docMk/>
          <pc:sldMk cId="281469090" sldId="264"/>
        </pc:sldMkLst>
        <pc:spChg chg="mod">
          <ac:chgData name="Jayasankar Thippabattini" userId="44c3813e-352f-4090-9f7b-e2959a7f1f10" providerId="ADAL" clId="{010A265B-B67E-4E93-B812-4DAD0C7CDC97}" dt="2025-01-07T03:41:43.987" v="9" actId="20577"/>
          <ac:spMkLst>
            <pc:docMk/>
            <pc:sldMk cId="281469090" sldId="264"/>
            <ac:spMk id="10" creationId="{C82A7238-33CE-89A5-61C8-B337BA41E948}"/>
          </ac:spMkLst>
        </pc:spChg>
      </pc:sldChg>
      <pc:sldChg chg="addSp delSp modSp mod">
        <pc:chgData name="Jayasankar Thippabattini" userId="44c3813e-352f-4090-9f7b-e2959a7f1f10" providerId="ADAL" clId="{010A265B-B67E-4E93-B812-4DAD0C7CDC97}" dt="2025-01-07T03:41:58.280" v="11" actId="27636"/>
        <pc:sldMkLst>
          <pc:docMk/>
          <pc:sldMk cId="915557449" sldId="287"/>
        </pc:sldMkLst>
        <pc:spChg chg="add mod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2" creationId="{2A4BAD3A-743C-3298-8577-8454156BF928}"/>
          </ac:spMkLst>
        </pc:spChg>
        <pc:spChg chg="add mod">
          <ac:chgData name="Jayasankar Thippabattini" userId="44c3813e-352f-4090-9f7b-e2959a7f1f10" providerId="ADAL" clId="{010A265B-B67E-4E93-B812-4DAD0C7CDC97}" dt="2025-01-07T03:41:58.280" v="11" actId="27636"/>
          <ac:spMkLst>
            <pc:docMk/>
            <pc:sldMk cId="915557449" sldId="287"/>
            <ac:spMk id="3" creationId="{F7B06F04-A619-678F-A433-64FBFC0D0CFE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4" creationId="{6524CACD-CB0C-8CA2-2E6F-97CB0E5F0B53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7" creationId="{795C3A8D-7358-05D8-6648-3B1745C28FD6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8" creationId="{7B74B74F-4283-489B-0462-4CD90E31306D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10" creationId="{52E14E0D-FFB7-1FC0-8460-8ED0D5ABC97C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11" creationId="{935C06B2-F409-AFBA-7010-D48C24B9B82B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19" creationId="{AE2698CF-1653-0E95-493E-84E0276F4DBE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21" creationId="{0CF8991B-5BA6-80EB-CDA2-7197E705AFF2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23" creationId="{1D181F59-CD8C-8FF9-BC3C-4BCAE739A134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75" creationId="{78034FB4-3285-D1E2-EED9-499302F75AD7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76" creationId="{8E64C53B-18CB-5152-D6A5-E884D1232750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77" creationId="{0F66F4FE-6443-7B52-095A-6DA33B320F31}"/>
          </ac:spMkLst>
        </pc:spChg>
        <pc:spChg chg="del">
          <ac:chgData name="Jayasankar Thippabattini" userId="44c3813e-352f-4090-9f7b-e2959a7f1f10" providerId="ADAL" clId="{010A265B-B67E-4E93-B812-4DAD0C7CDC97}" dt="2025-01-07T03:41:58.218" v="10" actId="478"/>
          <ac:spMkLst>
            <pc:docMk/>
            <pc:sldMk cId="915557449" sldId="287"/>
            <ac:spMk id="78" creationId="{239BC388-B64A-F562-DD5F-C9BEC0C09D8D}"/>
          </ac:spMkLst>
        </pc:spChg>
        <pc:grpChg chg="del">
          <ac:chgData name="Jayasankar Thippabattini" userId="44c3813e-352f-4090-9f7b-e2959a7f1f10" providerId="ADAL" clId="{010A265B-B67E-4E93-B812-4DAD0C7CDC97}" dt="2025-01-07T03:41:58.218" v="10" actId="478"/>
          <ac:grpSpMkLst>
            <pc:docMk/>
            <pc:sldMk cId="915557449" sldId="287"/>
            <ac:grpSpMk id="24" creationId="{0A4D5FDF-38CA-23C4-9FBF-2C2A9B5EB127}"/>
          </ac:grpSpMkLst>
        </pc:grpChg>
        <pc:grpChg chg="del">
          <ac:chgData name="Jayasankar Thippabattini" userId="44c3813e-352f-4090-9f7b-e2959a7f1f10" providerId="ADAL" clId="{010A265B-B67E-4E93-B812-4DAD0C7CDC97}" dt="2025-01-07T03:41:58.218" v="10" actId="478"/>
          <ac:grpSpMkLst>
            <pc:docMk/>
            <pc:sldMk cId="915557449" sldId="287"/>
            <ac:grpSpMk id="58" creationId="{DE81A0F9-940C-5112-4825-EA53A38FBC38}"/>
          </ac:grpSpMkLst>
        </pc:grpChg>
        <pc:grpChg chg="del">
          <ac:chgData name="Jayasankar Thippabattini" userId="44c3813e-352f-4090-9f7b-e2959a7f1f10" providerId="ADAL" clId="{010A265B-B67E-4E93-B812-4DAD0C7CDC97}" dt="2025-01-07T03:41:58.218" v="10" actId="478"/>
          <ac:grpSpMkLst>
            <pc:docMk/>
            <pc:sldMk cId="915557449" sldId="287"/>
            <ac:grpSpMk id="70" creationId="{90B0B932-3AD3-80C3-E876-D96677720EC9}"/>
          </ac:grpSpMkLst>
        </pc:grpChg>
        <pc:picChg chg="del">
          <ac:chgData name="Jayasankar Thippabattini" userId="44c3813e-352f-4090-9f7b-e2959a7f1f10" providerId="ADAL" clId="{010A265B-B67E-4E93-B812-4DAD0C7CDC97}" dt="2025-01-07T03:41:58.218" v="10" actId="478"/>
          <ac:picMkLst>
            <pc:docMk/>
            <pc:sldMk cId="915557449" sldId="287"/>
            <ac:picMk id="9" creationId="{1743FCB3-7D5D-02F9-8AFA-4713476C76B3}"/>
          </ac:picMkLst>
        </pc:picChg>
        <pc:picChg chg="del">
          <ac:chgData name="Jayasankar Thippabattini" userId="44c3813e-352f-4090-9f7b-e2959a7f1f10" providerId="ADAL" clId="{010A265B-B67E-4E93-B812-4DAD0C7CDC97}" dt="2025-01-07T03:41:58.218" v="10" actId="478"/>
          <ac:picMkLst>
            <pc:docMk/>
            <pc:sldMk cId="915557449" sldId="287"/>
            <ac:picMk id="12" creationId="{500C6016-7EA1-8F06-AD92-3B1CA561F8E2}"/>
          </ac:picMkLst>
        </pc:picChg>
        <pc:picChg chg="del">
          <ac:chgData name="Jayasankar Thippabattini" userId="44c3813e-352f-4090-9f7b-e2959a7f1f10" providerId="ADAL" clId="{010A265B-B67E-4E93-B812-4DAD0C7CDC97}" dt="2025-01-07T03:41:58.218" v="10" actId="478"/>
          <ac:picMkLst>
            <pc:docMk/>
            <pc:sldMk cId="915557449" sldId="287"/>
            <ac:picMk id="15" creationId="{589F4082-2195-E703-A776-B791DAD950B4}"/>
          </ac:picMkLst>
        </pc:picChg>
        <pc:picChg chg="del">
          <ac:chgData name="Jayasankar Thippabattini" userId="44c3813e-352f-4090-9f7b-e2959a7f1f10" providerId="ADAL" clId="{010A265B-B67E-4E93-B812-4DAD0C7CDC97}" dt="2025-01-07T03:41:58.218" v="10" actId="478"/>
          <ac:picMkLst>
            <pc:docMk/>
            <pc:sldMk cId="915557449" sldId="287"/>
            <ac:picMk id="16" creationId="{A62CA138-C2D2-E87B-18BE-E73D47C3F0EC}"/>
          </ac:picMkLst>
        </pc:picChg>
        <pc:picChg chg="del">
          <ac:chgData name="Jayasankar Thippabattini" userId="44c3813e-352f-4090-9f7b-e2959a7f1f10" providerId="ADAL" clId="{010A265B-B67E-4E93-B812-4DAD0C7CDC97}" dt="2025-01-07T03:41:58.218" v="10" actId="478"/>
          <ac:picMkLst>
            <pc:docMk/>
            <pc:sldMk cId="915557449" sldId="287"/>
            <ac:picMk id="17" creationId="{B4F2F0F0-22DE-8E8E-8B66-A022DB14A408}"/>
          </ac:picMkLst>
        </pc:picChg>
        <pc:picChg chg="del">
          <ac:chgData name="Jayasankar Thippabattini" userId="44c3813e-352f-4090-9f7b-e2959a7f1f10" providerId="ADAL" clId="{010A265B-B67E-4E93-B812-4DAD0C7CDC97}" dt="2025-01-07T03:41:58.218" v="10" actId="478"/>
          <ac:picMkLst>
            <pc:docMk/>
            <pc:sldMk cId="915557449" sldId="287"/>
            <ac:picMk id="68" creationId="{467ADC07-07B9-4065-1B1C-D7B4D33EC083}"/>
          </ac:picMkLst>
        </pc:picChg>
        <pc:picChg chg="del">
          <ac:chgData name="Jayasankar Thippabattini" userId="44c3813e-352f-4090-9f7b-e2959a7f1f10" providerId="ADAL" clId="{010A265B-B67E-4E93-B812-4DAD0C7CDC97}" dt="2025-01-07T03:41:58.218" v="10" actId="478"/>
          <ac:picMkLst>
            <pc:docMk/>
            <pc:sldMk cId="915557449" sldId="287"/>
            <ac:picMk id="69" creationId="{07616A5F-1353-72E5-8A69-E434FC06F7BD}"/>
          </ac:picMkLst>
        </pc:picChg>
      </pc:sldChg>
      <pc:sldChg chg="addSp delSp modSp mod">
        <pc:chgData name="Jayasankar Thippabattini" userId="44c3813e-352f-4090-9f7b-e2959a7f1f10" providerId="ADAL" clId="{010A265B-B67E-4E93-B812-4DAD0C7CDC97}" dt="2025-01-07T03:42:05.698" v="13" actId="27636"/>
        <pc:sldMkLst>
          <pc:docMk/>
          <pc:sldMk cId="1987863771" sldId="288"/>
        </pc:sldMkLst>
        <pc:spChg chg="add mod">
          <ac:chgData name="Jayasankar Thippabattini" userId="44c3813e-352f-4090-9f7b-e2959a7f1f10" providerId="ADAL" clId="{010A265B-B67E-4E93-B812-4DAD0C7CDC97}" dt="2025-01-07T03:42:05.698" v="13" actId="27636"/>
          <ac:spMkLst>
            <pc:docMk/>
            <pc:sldMk cId="1987863771" sldId="288"/>
            <ac:spMk id="3" creationId="{7C21266B-6AA2-389D-0AC9-33C45B690612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4" creationId="{6524CACD-CB0C-8CA2-2E6F-97CB0E5F0B53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92" creationId="{E1092225-B910-2528-6448-DE356A08A9A9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93" creationId="{11B2B15A-6B61-CD06-C5C5-2168EE9637D2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94" creationId="{A58F4FAC-3566-1CED-733E-D08B97AC0B8F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95" creationId="{4EDDB03E-9F50-8658-9980-68B67BDA74EC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96" creationId="{103C89CF-A8EE-C6CC-1FED-1965F1481C36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97" creationId="{E81A1DF4-3175-F28F-7BAA-8C30710FBA31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98" creationId="{928E6AB4-AE09-86F1-155F-2C4143E23C37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99" creationId="{2C4F328A-F25A-C88E-DD8C-4AAE164EABA0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00" creationId="{CE66F7B6-C148-14F3-7DCC-2436AC99DB60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01" creationId="{5B99D926-ACB7-1A30-9D3E-9549F39393DD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02" creationId="{D0AA9F4F-D4FE-0A63-C41E-6561B22AFEC1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06" creationId="{3899E3A7-D1F9-09DF-B6F5-BC39123A295E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07" creationId="{7C01B84D-A9D7-9FD8-ED3D-94816A4EB6CA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08" creationId="{33CDB022-30CB-35B2-C056-B55AD699DE78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09" creationId="{14C1E8F6-DB80-7F0A-32BF-0E45A51E227B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18" creationId="{9D4E819C-81FD-4C2D-0D81-EE62E7D6A2F5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19" creationId="{26F4EF56-65A4-4648-F901-5EEDD0E85737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21" creationId="{D046B6DC-0885-FDB8-5208-E1006660CE2E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22" creationId="{5B716A4E-48D6-2563-A6DC-B119F1B87613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24" creationId="{5E8753A3-899D-9310-5E2F-2764D991BB2D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26" creationId="{66573629-CA38-5BA2-6301-D9757CB5B6A5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27" creationId="{5E573F20-4290-F5DD-2E41-36BF816ED475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28" creationId="{39F5AC6C-FB1C-AE26-E85B-311C3258E41E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29" creationId="{49C14B9E-5877-DCEC-B56D-EFCD6C5190BD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30" creationId="{66A11F3B-CC2E-D884-9DB7-07FE1C122EEC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31" creationId="{7ECA417D-CD00-5E02-E852-26D85E15401A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32" creationId="{DFD7C49B-B5AC-647A-2258-B547CAD3EB19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33" creationId="{27C85A08-1883-7284-8C49-58BF9B60CE02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34" creationId="{296B60EC-B91A-96EF-866B-E3D5739F345D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35" creationId="{03EF4EC7-1BA0-164E-4918-42BA9063471E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36" creationId="{E6D4F69E-102C-2261-C39D-F47C0F082F99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38" creationId="{DD33C6A3-C89C-D1DB-D5F6-7EBCBC8F4A83}"/>
          </ac:spMkLst>
        </pc:spChg>
        <pc:spChg chg="del">
          <ac:chgData name="Jayasankar Thippabattini" userId="44c3813e-352f-4090-9f7b-e2959a7f1f10" providerId="ADAL" clId="{010A265B-B67E-4E93-B812-4DAD0C7CDC97}" dt="2025-01-07T03:42:05.698" v="12" actId="478"/>
          <ac:spMkLst>
            <pc:docMk/>
            <pc:sldMk cId="1987863771" sldId="288"/>
            <ac:spMk id="139" creationId="{62818A52-DDC4-5EE9-3DD2-305E337BAA7C}"/>
          </ac:spMkLst>
        </pc:spChg>
        <pc:picChg chg="del">
          <ac:chgData name="Jayasankar Thippabattini" userId="44c3813e-352f-4090-9f7b-e2959a7f1f10" providerId="ADAL" clId="{010A265B-B67E-4E93-B812-4DAD0C7CDC97}" dt="2025-01-07T03:42:05.698" v="12" actId="478"/>
          <ac:picMkLst>
            <pc:docMk/>
            <pc:sldMk cId="1987863771" sldId="288"/>
            <ac:picMk id="103" creationId="{C203E914-9204-55A7-9E64-8EB2FD6326E7}"/>
          </ac:picMkLst>
        </pc:picChg>
        <pc:cxnChg chg="del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04" creationId="{6D772720-B0FF-FDA1-4993-FB8B4C76B831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05" creationId="{24C747CE-7AA1-735F-83F0-3E1F3126FEA2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10" creationId="{D4BB973F-35AB-4322-D5C0-2C6AEB8A4268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11" creationId="{5F0DC1CD-5B8C-C513-CB6C-3D0B45932C98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12" creationId="{51BD07DC-BA8B-DDB0-F2B7-1928F96F9E34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13" creationId="{058331E9-83F0-5444-0C64-6A65E603586E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14" creationId="{756B229B-623F-6E17-7C12-6702D54DC53E}"/>
          </ac:cxnSpMkLst>
        </pc:cxnChg>
        <pc:cxnChg chg="del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15" creationId="{5764F1C7-B9CA-75A8-7BB4-64D93E0B27C1}"/>
          </ac:cxnSpMkLst>
        </pc:cxnChg>
        <pc:cxnChg chg="del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16" creationId="{C870EE5B-3483-9DE4-2DA1-0B1240298FFA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17" creationId="{3B2606B2-786F-7B47-35C2-CC004B8F80DC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20" creationId="{9B586C58-01C0-75CE-DA2B-173009D302CF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23" creationId="{6046933C-C41C-F25D-9B19-F41BA800AE27}"/>
          </ac:cxnSpMkLst>
        </pc:cxnChg>
        <pc:cxnChg chg="del mod">
          <ac:chgData name="Jayasankar Thippabattini" userId="44c3813e-352f-4090-9f7b-e2959a7f1f10" providerId="ADAL" clId="{010A265B-B67E-4E93-B812-4DAD0C7CDC97}" dt="2025-01-07T03:42:05.698" v="12" actId="478"/>
          <ac:cxnSpMkLst>
            <pc:docMk/>
            <pc:sldMk cId="1987863771" sldId="288"/>
            <ac:cxnSpMk id="125" creationId="{F9493812-70D1-EFEF-8E07-915051F35C62}"/>
          </ac:cxnSpMkLst>
        </pc:cxnChg>
      </pc:sldChg>
      <pc:sldChg chg="addSp delSp modSp mod">
        <pc:chgData name="Jayasankar Thippabattini" userId="44c3813e-352f-4090-9f7b-e2959a7f1f10" providerId="ADAL" clId="{010A265B-B67E-4E93-B812-4DAD0C7CDC97}" dt="2025-01-07T03:42:13.864" v="16" actId="27636"/>
        <pc:sldMkLst>
          <pc:docMk/>
          <pc:sldMk cId="4146409874" sldId="289"/>
        </pc:sldMkLst>
        <pc:spChg chg="add mod">
          <ac:chgData name="Jayasankar Thippabattini" userId="44c3813e-352f-4090-9f7b-e2959a7f1f10" providerId="ADAL" clId="{010A265B-B67E-4E93-B812-4DAD0C7CDC97}" dt="2025-01-07T03:42:13.864" v="16" actId="27636"/>
          <ac:spMkLst>
            <pc:docMk/>
            <pc:sldMk cId="4146409874" sldId="289"/>
            <ac:spMk id="3" creationId="{FCA7443B-D747-F798-F2C9-46086ABFC18A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8" creationId="{4587A3D2-38AF-051B-5D30-79C100F95532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9" creationId="{7CEF6709-4DC1-59B7-C76A-AFE7D88A62B1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11" creationId="{4B17D39B-76C4-4D14-2844-BF33A9C00ADD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12" creationId="{B716BF6D-327F-DB63-C893-D3D3FA04E685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14" creationId="{A8AD9054-8252-0EDA-EB3A-8555490ADA48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15" creationId="{084EA867-1E19-1AA3-35DB-E2E3E31A7DA0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16" creationId="{CE21F9BD-A739-74BE-57BF-964A4EA44EA6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17" creationId="{7320FA5C-7243-AD53-0604-25D9C280D022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18" creationId="{76C26B2C-71BB-EAFC-9BA0-3C706A8E38A2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19" creationId="{6789CB86-91DD-A821-E9D7-8E0CA4EBF9AF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27" creationId="{FC0A28BC-05F0-6472-A951-B5A0E55CACB0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28" creationId="{E229AA29-CB73-D8CE-9099-5EBBE13EE65A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29" creationId="{A3133A29-9EE1-A29A-1C24-E8F1B29972A5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30" creationId="{91170BAF-BE55-89D7-2725-2E34B641CA63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31" creationId="{D8260323-CB0A-5C35-ECF9-1413844820D4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33" creationId="{537A3545-EDA1-3080-83A9-7E244C729ADD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34" creationId="{906C6B1A-837B-117B-8384-61F5998119AE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35" creationId="{E5E01524-0F8E-5D37-D2A2-642CA8EF397A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36" creationId="{40434379-FAF9-B598-ED8F-98C7FF926F54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38" creationId="{69727FBF-FE02-31D4-0332-5D173E91F6B0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39" creationId="{247B68BD-95EA-A932-8180-0C8E4D7F6C4C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40" creationId="{C4E5038A-945D-B3F7-C241-AEFE3E77FC5F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43" creationId="{FD5B05E0-3581-D61E-6A88-A9C911714FE8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44" creationId="{AF891F30-3EAC-BFAF-BF3F-DA61F71E88A4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49" creationId="{7AC18BD2-266A-4E23-DC2B-D00FA4674757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50" creationId="{DC331283-CE46-D4E5-C612-D0A01B92DC5B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52" creationId="{C52B634C-37CF-8985-C8C9-FC99251A65A1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57" creationId="{F2847622-4265-FB29-DAD9-7FEBBFF4C295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60" creationId="{15CC9B5E-B0A2-A0C6-A58D-B733A7934EE7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61" creationId="{E91B72CC-CFE1-58ED-2BD3-95B893B557A6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63" creationId="{BF3ECE65-9BFE-53B2-DD43-2010C491C54D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64" creationId="{6A735305-9CAF-8529-31CD-B4B16064D031}"/>
          </ac:spMkLst>
        </pc:spChg>
        <pc:spChg chg="del">
          <ac:chgData name="Jayasankar Thippabattini" userId="44c3813e-352f-4090-9f7b-e2959a7f1f10" providerId="ADAL" clId="{010A265B-B67E-4E93-B812-4DAD0C7CDC97}" dt="2025-01-07T03:42:13.848" v="15" actId="478"/>
          <ac:spMkLst>
            <pc:docMk/>
            <pc:sldMk cId="4146409874" sldId="289"/>
            <ac:spMk id="65" creationId="{177002CD-8C6E-9AB5-6858-5C6F206856BC}"/>
          </ac:spMkLst>
        </pc:spChg>
        <pc:grpChg chg="del">
          <ac:chgData name="Jayasankar Thippabattini" userId="44c3813e-352f-4090-9f7b-e2959a7f1f10" providerId="ADAL" clId="{010A265B-B67E-4E93-B812-4DAD0C7CDC97}" dt="2025-01-07T03:42:13.848" v="15" actId="478"/>
          <ac:grpSpMkLst>
            <pc:docMk/>
            <pc:sldMk cId="4146409874" sldId="289"/>
            <ac:grpSpMk id="24" creationId="{230201B9-4FCA-7300-E796-15490CBCC130}"/>
          </ac:grpSpMkLst>
        </pc:grpChg>
        <pc:grpChg chg="del">
          <ac:chgData name="Jayasankar Thippabattini" userId="44c3813e-352f-4090-9f7b-e2959a7f1f10" providerId="ADAL" clId="{010A265B-B67E-4E93-B812-4DAD0C7CDC97}" dt="2025-01-07T03:42:13.848" v="15" actId="478"/>
          <ac:grpSpMkLst>
            <pc:docMk/>
            <pc:sldMk cId="4146409874" sldId="289"/>
            <ac:grpSpMk id="25" creationId="{FD0773DF-5810-0C46-25F7-3BA795FF4223}"/>
          </ac:grpSpMkLst>
        </pc:grp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20" creationId="{52E57DA4-E94D-908D-31F3-84A7A802075F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21" creationId="{A6BBA008-05EE-8997-66B5-90979313D7E2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22" creationId="{CF3F3322-EA60-8629-B24B-7F36710A5917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23" creationId="{D683BBC5-C772-A38A-7215-F3CD7ABA3AFD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26" creationId="{C7938130-89B3-D8FD-A9EB-7E463BDD4BC0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32" creationId="{7F2DD536-715D-32EB-2DCC-F8FEBD52DD89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37" creationId="{DAAD730B-7713-EBD7-208F-A83324AF8065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41" creationId="{9955F305-46FE-4682-1D9B-D18300556A1E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42" creationId="{50C44014-0090-719F-29DF-1281F6D98890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46" creationId="{ABA54054-2864-C577-34E8-CBFA220E6664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47" creationId="{F522A186-6DF1-FB10-D8A1-E967FBCD0D0F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48" creationId="{6DA73CF2-20C7-8658-8F2D-2B0BE2468821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51" creationId="{3118E558-FB25-5F65-245B-99AEF11C6AB8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56" creationId="{8951AE34-73DF-1E07-D7EF-EA6F1606FE86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59" creationId="{74FDC9C7-BD02-485C-0F25-5B00DD2D2DA1}"/>
          </ac:picMkLst>
        </pc:picChg>
        <pc:picChg chg="del">
          <ac:chgData name="Jayasankar Thippabattini" userId="44c3813e-352f-4090-9f7b-e2959a7f1f10" providerId="ADAL" clId="{010A265B-B67E-4E93-B812-4DAD0C7CDC97}" dt="2025-01-07T03:42:13.848" v="15" actId="478"/>
          <ac:picMkLst>
            <pc:docMk/>
            <pc:sldMk cId="4146409874" sldId="289"/>
            <ac:picMk id="62" creationId="{65637412-444E-BFEE-A1E0-B36628BEC1FD}"/>
          </ac:picMkLst>
        </pc:picChg>
        <pc:cxnChg chg="del mod">
          <ac:chgData name="Jayasankar Thippabattini" userId="44c3813e-352f-4090-9f7b-e2959a7f1f10" providerId="ADAL" clId="{010A265B-B67E-4E93-B812-4DAD0C7CDC97}" dt="2025-01-07T03:42:13.848" v="15" actId="478"/>
          <ac:cxnSpMkLst>
            <pc:docMk/>
            <pc:sldMk cId="4146409874" sldId="289"/>
            <ac:cxnSpMk id="53" creationId="{0815D078-3649-316D-789C-7DC742061D2F}"/>
          </ac:cxnSpMkLst>
        </pc:cxnChg>
        <pc:cxnChg chg="del mod">
          <ac:chgData name="Jayasankar Thippabattini" userId="44c3813e-352f-4090-9f7b-e2959a7f1f10" providerId="ADAL" clId="{010A265B-B67E-4E93-B812-4DAD0C7CDC97}" dt="2025-01-07T03:42:13.848" v="15" actId="478"/>
          <ac:cxnSpMkLst>
            <pc:docMk/>
            <pc:sldMk cId="4146409874" sldId="289"/>
            <ac:cxnSpMk id="54" creationId="{614323E8-11B7-AECB-B211-E650559FDB69}"/>
          </ac:cxnSpMkLst>
        </pc:cxnChg>
        <pc:cxnChg chg="del mod">
          <ac:chgData name="Jayasankar Thippabattini" userId="44c3813e-352f-4090-9f7b-e2959a7f1f10" providerId="ADAL" clId="{010A265B-B67E-4E93-B812-4DAD0C7CDC97}" dt="2025-01-07T03:42:13.848" v="15" actId="478"/>
          <ac:cxnSpMkLst>
            <pc:docMk/>
            <pc:sldMk cId="4146409874" sldId="289"/>
            <ac:cxnSpMk id="55" creationId="{CE580F38-4C65-A037-7716-FBAC6DCECC0E}"/>
          </ac:cxnSpMkLst>
        </pc:cxnChg>
        <pc:cxnChg chg="del mod">
          <ac:chgData name="Jayasankar Thippabattini" userId="44c3813e-352f-4090-9f7b-e2959a7f1f10" providerId="ADAL" clId="{010A265B-B67E-4E93-B812-4DAD0C7CDC97}" dt="2025-01-07T03:42:13.848" v="15" actId="478"/>
          <ac:cxnSpMkLst>
            <pc:docMk/>
            <pc:sldMk cId="4146409874" sldId="289"/>
            <ac:cxnSpMk id="58" creationId="{6D25B552-3713-0A19-EC93-5FF0903FA191}"/>
          </ac:cxnSpMkLst>
        </pc:cxnChg>
      </pc:sldChg>
      <pc:sldChg chg="delSp mod">
        <pc:chgData name="Jayasankar Thippabattini" userId="44c3813e-352f-4090-9f7b-e2959a7f1f10" providerId="ADAL" clId="{010A265B-B67E-4E93-B812-4DAD0C7CDC97}" dt="2025-01-07T03:42:10.170" v="14" actId="478"/>
        <pc:sldMkLst>
          <pc:docMk/>
          <pc:sldMk cId="3067031295" sldId="290"/>
        </pc:sldMkLst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6" creationId="{3F058B03-14F8-9377-0226-437BA55AC770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9" creationId="{26AF01C0-CD26-ECC4-6D93-048AAF2E87D8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0" creationId="{813197F1-F713-0E77-EABC-C22FD7D1CA6F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1" creationId="{B176ADEC-B0E8-0077-A271-F29AFA064A71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2" creationId="{BF9BE9D6-2842-6B84-EA02-1056D7AF50BB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3" creationId="{AE3D0CE6-C428-9AEF-4651-2A5BD10FF607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4" creationId="{3513EAF8-4E37-B3FE-9C1C-6C4AAF3AE8AA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5" creationId="{E83B9C2B-7555-2DAF-C493-E8C9BA4B045E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6" creationId="{27AFA817-BB29-4538-E678-3012483E9101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7" creationId="{546B2DE6-5513-7893-C386-62E55A74298D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8" creationId="{CB05DA4A-6AEE-1DF4-F429-F3D2192A342E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19" creationId="{5CB5CB84-446E-724A-F5E7-41BA0712570E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0" creationId="{D2A0FF53-A002-8952-6698-88F6120D1BC6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1" creationId="{18E9895A-CD3F-1CAF-6863-942C197B9997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2" creationId="{A7D165F5-00C2-5B11-375E-3503244714EC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3" creationId="{E985CFC8-CD05-A9B2-637D-EADE9FAA596A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4" creationId="{0ED65C1B-4505-C535-F2A0-7A593378D0BA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5" creationId="{A27632C3-51A7-1554-5646-AFCCEAF180E3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6" creationId="{160C480E-6013-7AED-2975-9C5A2A7B6950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7" creationId="{A385FDF1-F918-4D08-4F2E-DF9CB9ABBBAA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8" creationId="{C69CCA74-40A2-03A3-8969-B8F82FD29DC6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29" creationId="{E03A8128-2107-8F91-0CC8-3B36FE45FE91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0" creationId="{B59806B0-1D30-4D5F-3AE3-E65F086844AA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1" creationId="{25A68260-733F-1DCC-6571-0E74632622DA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2" creationId="{82B54A4A-4A4D-8644-EFE6-058638F3F213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3" creationId="{9CC8E2D5-883E-0F66-B692-C6B4B2E5131C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4" creationId="{4CDD30EE-5F21-1D4C-49C8-474AA05A0BCA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5" creationId="{4D3B31ED-89E9-B984-4CCC-6CE58FC729EF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6" creationId="{82D04708-30FA-2395-8EA7-4A5979B0F6CE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7" creationId="{E7547EF7-2DB6-2995-3F1B-2094B827D134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8" creationId="{5D67C17F-48DC-AF31-CF80-31E86AD04C70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39" creationId="{F3CBDABA-6262-2ABC-BC73-5F62E3BAEBCE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40" creationId="{60AE790F-4928-26B1-30DC-98CE9F55E1BB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41" creationId="{3E1FA0DA-B17F-0C21-532E-89F7DCF0F7DA}"/>
          </ac:spMkLst>
        </pc:spChg>
        <pc:spChg chg="del">
          <ac:chgData name="Jayasankar Thippabattini" userId="44c3813e-352f-4090-9f7b-e2959a7f1f10" providerId="ADAL" clId="{010A265B-B67E-4E93-B812-4DAD0C7CDC97}" dt="2025-01-07T03:42:10.170" v="14" actId="478"/>
          <ac:spMkLst>
            <pc:docMk/>
            <pc:sldMk cId="3067031295" sldId="290"/>
            <ac:spMk id="42" creationId="{2F5B411B-62BE-B5B2-CB0D-E08F79BFAF72}"/>
          </ac:spMkLst>
        </pc:spChg>
      </pc:sldChg>
      <pc:sldChg chg="addSp delSp modSp mod">
        <pc:chgData name="Jayasankar Thippabattini" userId="44c3813e-352f-4090-9f7b-e2959a7f1f10" providerId="ADAL" clId="{010A265B-B67E-4E93-B812-4DAD0C7CDC97}" dt="2025-01-07T03:42:18.155" v="18" actId="27636"/>
        <pc:sldMkLst>
          <pc:docMk/>
          <pc:sldMk cId="4088875312" sldId="291"/>
        </pc:sldMkLst>
        <pc:spChg chg="add mod">
          <ac:chgData name="Jayasankar Thippabattini" userId="44c3813e-352f-4090-9f7b-e2959a7f1f10" providerId="ADAL" clId="{010A265B-B67E-4E93-B812-4DAD0C7CDC97}" dt="2025-01-07T03:42:18.155" v="18" actId="27636"/>
          <ac:spMkLst>
            <pc:docMk/>
            <pc:sldMk cId="4088875312" sldId="291"/>
            <ac:spMk id="3" creationId="{9FBCE36A-3BBE-AB4A-3EE6-E9937C846EA0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6" creationId="{CDFF9970-8FE0-626E-EB6C-F65B0CBF2168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9" creationId="{FDB312E3-E229-112F-88F2-CB128E46D531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10" creationId="{61C8FCC1-AD08-A8CF-11E3-A0B71C20E52F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11" creationId="{E9D8D73F-4B06-22F0-8D4B-076246BB6640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12" creationId="{F0A5DB21-CB13-EE68-4E05-952BC006500A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13" creationId="{BE7BDD59-2B24-2381-B63A-F5DF3019AC86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14" creationId="{48AD96F0-78C1-2177-6A6C-DB1B83834150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17" creationId="{AA4E27A2-83C4-4782-BF90-EAEECED9FF48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18" creationId="{3826254F-E577-5F05-DAF8-A0969BBC1BDE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19" creationId="{DE584508-4309-D954-8A77-5E1EFE7209A7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20" creationId="{1229BCB5-541E-A275-F36D-48F8DB607EFE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21" creationId="{63F10483-5F22-1B15-6536-26956380F474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23" creationId="{BA1CE771-9002-B81B-5C3C-2AD80C5A80E8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25" creationId="{AEFF3996-F308-AA47-5B39-082626DBCEA3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26" creationId="{46C7FA97-0B37-F744-3F0A-DDA45FD51206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27" creationId="{C5C28372-B5FB-8E06-672B-1034227D4F00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30" creationId="{A1F16F3F-A5B3-ACF1-3463-04C576DD94C6}"/>
          </ac:spMkLst>
        </pc:spChg>
        <pc:spChg chg="del">
          <ac:chgData name="Jayasankar Thippabattini" userId="44c3813e-352f-4090-9f7b-e2959a7f1f10" providerId="ADAL" clId="{010A265B-B67E-4E93-B812-4DAD0C7CDC97}" dt="2025-01-07T03:42:18.155" v="17" actId="478"/>
          <ac:spMkLst>
            <pc:docMk/>
            <pc:sldMk cId="4088875312" sldId="291"/>
            <ac:spMk id="31" creationId="{A99BB523-F191-F37D-9914-6A27AE6CA5C2}"/>
          </ac:spMkLst>
        </pc:spChg>
        <pc:picChg chg="del">
          <ac:chgData name="Jayasankar Thippabattini" userId="44c3813e-352f-4090-9f7b-e2959a7f1f10" providerId="ADAL" clId="{010A265B-B67E-4E93-B812-4DAD0C7CDC97}" dt="2025-01-07T03:42:18.155" v="17" actId="478"/>
          <ac:picMkLst>
            <pc:docMk/>
            <pc:sldMk cId="4088875312" sldId="291"/>
            <ac:picMk id="15" creationId="{0D77E6DF-2784-E7E1-3DCD-68E5245ED7F4}"/>
          </ac:picMkLst>
        </pc:picChg>
        <pc:picChg chg="del">
          <ac:chgData name="Jayasankar Thippabattini" userId="44c3813e-352f-4090-9f7b-e2959a7f1f10" providerId="ADAL" clId="{010A265B-B67E-4E93-B812-4DAD0C7CDC97}" dt="2025-01-07T03:42:18.155" v="17" actId="478"/>
          <ac:picMkLst>
            <pc:docMk/>
            <pc:sldMk cId="4088875312" sldId="291"/>
            <ac:picMk id="16" creationId="{3B0E6426-B433-7B95-DAC3-6E86AC2CCD16}"/>
          </ac:picMkLst>
        </pc:picChg>
        <pc:picChg chg="del">
          <ac:chgData name="Jayasankar Thippabattini" userId="44c3813e-352f-4090-9f7b-e2959a7f1f10" providerId="ADAL" clId="{010A265B-B67E-4E93-B812-4DAD0C7CDC97}" dt="2025-01-07T03:42:18.155" v="17" actId="478"/>
          <ac:picMkLst>
            <pc:docMk/>
            <pc:sldMk cId="4088875312" sldId="291"/>
            <ac:picMk id="22" creationId="{9FD6DB6E-C627-F535-0AAA-F1AD7781F3E3}"/>
          </ac:picMkLst>
        </pc:picChg>
        <pc:picChg chg="del">
          <ac:chgData name="Jayasankar Thippabattini" userId="44c3813e-352f-4090-9f7b-e2959a7f1f10" providerId="ADAL" clId="{010A265B-B67E-4E93-B812-4DAD0C7CDC97}" dt="2025-01-07T03:42:18.155" v="17" actId="478"/>
          <ac:picMkLst>
            <pc:docMk/>
            <pc:sldMk cId="4088875312" sldId="291"/>
            <ac:picMk id="24" creationId="{21B3569E-69F1-E5D2-0B22-D24F5AF46DD3}"/>
          </ac:picMkLst>
        </pc:picChg>
        <pc:picChg chg="del">
          <ac:chgData name="Jayasankar Thippabattini" userId="44c3813e-352f-4090-9f7b-e2959a7f1f10" providerId="ADAL" clId="{010A265B-B67E-4E93-B812-4DAD0C7CDC97}" dt="2025-01-07T03:42:18.155" v="17" actId="478"/>
          <ac:picMkLst>
            <pc:docMk/>
            <pc:sldMk cId="4088875312" sldId="291"/>
            <ac:picMk id="28" creationId="{C25BE217-67F9-1CB8-78A2-B82C077116DD}"/>
          </ac:picMkLst>
        </pc:picChg>
        <pc:picChg chg="del">
          <ac:chgData name="Jayasankar Thippabattini" userId="44c3813e-352f-4090-9f7b-e2959a7f1f10" providerId="ADAL" clId="{010A265B-B67E-4E93-B812-4DAD0C7CDC97}" dt="2025-01-07T03:42:18.155" v="17" actId="478"/>
          <ac:picMkLst>
            <pc:docMk/>
            <pc:sldMk cId="4088875312" sldId="291"/>
            <ac:picMk id="29" creationId="{20461FA3-F1D4-B50D-8089-8F528AA09036}"/>
          </ac:picMkLst>
        </pc:picChg>
      </pc:sldChg>
      <pc:sldChg chg="addSp delSp modSp mod">
        <pc:chgData name="Jayasankar Thippabattini" userId="44c3813e-352f-4090-9f7b-e2959a7f1f10" providerId="ADAL" clId="{010A265B-B67E-4E93-B812-4DAD0C7CDC97}" dt="2025-01-07T03:42:21.707" v="20" actId="27636"/>
        <pc:sldMkLst>
          <pc:docMk/>
          <pc:sldMk cId="1968935196" sldId="292"/>
        </pc:sldMkLst>
        <pc:spChg chg="add mod">
          <ac:chgData name="Jayasankar Thippabattini" userId="44c3813e-352f-4090-9f7b-e2959a7f1f10" providerId="ADAL" clId="{010A265B-B67E-4E93-B812-4DAD0C7CDC97}" dt="2025-01-07T03:42:21.707" v="20" actId="27636"/>
          <ac:spMkLst>
            <pc:docMk/>
            <pc:sldMk cId="1968935196" sldId="292"/>
            <ac:spMk id="3" creationId="{84A411B9-44A4-C1B4-6EED-2E10E5AA509E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6" creationId="{B6FC3FAA-0E09-F989-A2A7-6B257D4CF8E2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9" creationId="{673FB1AD-391A-329A-4C9A-5DF094722B9D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11" creationId="{9308B6FE-A36E-CE16-FFD9-5F931E7EE03A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12" creationId="{20494183-81D8-B484-1B96-EA3E945402DB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13" creationId="{4914077C-42F3-C854-A866-51AA0F4FAA70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14" creationId="{050C3FC3-E07D-FAD0-351B-3A6016E62F3C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15" creationId="{565AFAA4-F611-193D-622D-7805FBC52C54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16" creationId="{110C3668-1958-0B56-20D3-4217E4D999DE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17" creationId="{AB2D65EA-A1E2-9D0C-1560-FD34B96792D1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23" creationId="{3631E997-E9F7-0CCA-833D-00F0395916B5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24" creationId="{73A567FC-21B7-21C5-3F6C-B3BD9C8E1BED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25" creationId="{B7EEA457-7A7F-A9B7-E013-57CC2FD6AC2F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26" creationId="{AC43C534-0DEA-B9FC-708F-8B2F2C2461A1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27" creationId="{9B21EC3C-4DF1-1B5D-52F7-9AD95F235C0F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28" creationId="{5B88049C-ED35-4627-2C45-4113A39D97EA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29" creationId="{EB3E13D4-04BB-8495-F640-FCAAD89E4722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31" creationId="{A7B57057-6DEF-37F8-7757-B0001DBF2C8A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32" creationId="{06368996-7943-EEE0-E85D-5F6673933B21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33" creationId="{CBC7F891-F8B4-E39E-CC93-21FBFC69E629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34" creationId="{BD6F355F-A853-5AC1-23A8-51CE4FED3808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35" creationId="{F64D3CD5-C758-21E3-9181-DCA08AD8ED94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36" creationId="{941EE8B6-EC3B-C6BF-3C95-06B19B714E75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37" creationId="{1A86EFF2-7A46-6876-1FDB-4FB7F6697FB7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38" creationId="{14F21AEE-CBDA-6A0F-8618-07C12051B4E7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40" creationId="{59893D21-60FA-42CB-40BA-FC4E50A11218}"/>
          </ac:spMkLst>
        </pc:spChg>
        <pc:spChg chg="del">
          <ac:chgData name="Jayasankar Thippabattini" userId="44c3813e-352f-4090-9f7b-e2959a7f1f10" providerId="ADAL" clId="{010A265B-B67E-4E93-B812-4DAD0C7CDC97}" dt="2025-01-07T03:42:21.707" v="19" actId="478"/>
          <ac:spMkLst>
            <pc:docMk/>
            <pc:sldMk cId="1968935196" sldId="292"/>
            <ac:spMk id="41" creationId="{B584281A-BDF0-ACE3-49CF-4ED6D2112C00}"/>
          </ac:spMkLst>
        </pc:spChg>
        <pc:picChg chg="del">
          <ac:chgData name="Jayasankar Thippabattini" userId="44c3813e-352f-4090-9f7b-e2959a7f1f10" providerId="ADAL" clId="{010A265B-B67E-4E93-B812-4DAD0C7CDC97}" dt="2025-01-07T03:42:21.707" v="19" actId="478"/>
          <ac:picMkLst>
            <pc:docMk/>
            <pc:sldMk cId="1968935196" sldId="292"/>
            <ac:picMk id="10" creationId="{44E3DC7C-7D23-1AF8-F833-570F2EA498E3}"/>
          </ac:picMkLst>
        </pc:picChg>
        <pc:picChg chg="del">
          <ac:chgData name="Jayasankar Thippabattini" userId="44c3813e-352f-4090-9f7b-e2959a7f1f10" providerId="ADAL" clId="{010A265B-B67E-4E93-B812-4DAD0C7CDC97}" dt="2025-01-07T03:42:21.707" v="19" actId="478"/>
          <ac:picMkLst>
            <pc:docMk/>
            <pc:sldMk cId="1968935196" sldId="292"/>
            <ac:picMk id="18" creationId="{2A7FE18F-F030-93D5-2D14-70F8139710B9}"/>
          </ac:picMkLst>
        </pc:picChg>
        <pc:picChg chg="del">
          <ac:chgData name="Jayasankar Thippabattini" userId="44c3813e-352f-4090-9f7b-e2959a7f1f10" providerId="ADAL" clId="{010A265B-B67E-4E93-B812-4DAD0C7CDC97}" dt="2025-01-07T03:42:21.707" v="19" actId="478"/>
          <ac:picMkLst>
            <pc:docMk/>
            <pc:sldMk cId="1968935196" sldId="292"/>
            <ac:picMk id="19" creationId="{F240D3CE-89E6-42A6-8B25-F4E8FD8F37DB}"/>
          </ac:picMkLst>
        </pc:picChg>
        <pc:picChg chg="del">
          <ac:chgData name="Jayasankar Thippabattini" userId="44c3813e-352f-4090-9f7b-e2959a7f1f10" providerId="ADAL" clId="{010A265B-B67E-4E93-B812-4DAD0C7CDC97}" dt="2025-01-07T03:42:21.707" v="19" actId="478"/>
          <ac:picMkLst>
            <pc:docMk/>
            <pc:sldMk cId="1968935196" sldId="292"/>
            <ac:picMk id="20" creationId="{EECE29D6-093C-95B0-BC4F-EC1EC4CCE1E3}"/>
          </ac:picMkLst>
        </pc:picChg>
        <pc:picChg chg="del">
          <ac:chgData name="Jayasankar Thippabattini" userId="44c3813e-352f-4090-9f7b-e2959a7f1f10" providerId="ADAL" clId="{010A265B-B67E-4E93-B812-4DAD0C7CDC97}" dt="2025-01-07T03:42:21.707" v="19" actId="478"/>
          <ac:picMkLst>
            <pc:docMk/>
            <pc:sldMk cId="1968935196" sldId="292"/>
            <ac:picMk id="21" creationId="{8A08ABAC-42E2-352D-1F92-CFD5E7C3ACD0}"/>
          </ac:picMkLst>
        </pc:picChg>
        <pc:picChg chg="del">
          <ac:chgData name="Jayasankar Thippabattini" userId="44c3813e-352f-4090-9f7b-e2959a7f1f10" providerId="ADAL" clId="{010A265B-B67E-4E93-B812-4DAD0C7CDC97}" dt="2025-01-07T03:42:21.707" v="19" actId="478"/>
          <ac:picMkLst>
            <pc:docMk/>
            <pc:sldMk cId="1968935196" sldId="292"/>
            <ac:picMk id="22" creationId="{B44E1EBD-D132-FBA2-1EE4-74E0FD7051EE}"/>
          </ac:picMkLst>
        </pc:picChg>
        <pc:picChg chg="del">
          <ac:chgData name="Jayasankar Thippabattini" userId="44c3813e-352f-4090-9f7b-e2959a7f1f10" providerId="ADAL" clId="{010A265B-B67E-4E93-B812-4DAD0C7CDC97}" dt="2025-01-07T03:42:21.707" v="19" actId="478"/>
          <ac:picMkLst>
            <pc:docMk/>
            <pc:sldMk cId="1968935196" sldId="292"/>
            <ac:picMk id="30" creationId="{E5F6E99F-72B2-64AB-46DB-054E6A8C4028}"/>
          </ac:picMkLst>
        </pc:picChg>
        <pc:picChg chg="del">
          <ac:chgData name="Jayasankar Thippabattini" userId="44c3813e-352f-4090-9f7b-e2959a7f1f10" providerId="ADAL" clId="{010A265B-B67E-4E93-B812-4DAD0C7CDC97}" dt="2025-01-07T03:42:21.707" v="19" actId="478"/>
          <ac:picMkLst>
            <pc:docMk/>
            <pc:sldMk cId="1968935196" sldId="292"/>
            <ac:picMk id="39" creationId="{9829AC8F-BF26-4ACC-0CD2-E07C7C2B0119}"/>
          </ac:picMkLst>
        </pc:picChg>
      </pc:sldChg>
      <pc:sldChg chg="addSp delSp modSp mod">
        <pc:chgData name="Jayasankar Thippabattini" userId="44c3813e-352f-4090-9f7b-e2959a7f1f10" providerId="ADAL" clId="{010A265B-B67E-4E93-B812-4DAD0C7CDC97}" dt="2025-01-07T03:42:25.715" v="22" actId="27636"/>
        <pc:sldMkLst>
          <pc:docMk/>
          <pc:sldMk cId="3749245979" sldId="293"/>
        </pc:sldMkLst>
        <pc:spChg chg="add mod">
          <ac:chgData name="Jayasankar Thippabattini" userId="44c3813e-352f-4090-9f7b-e2959a7f1f10" providerId="ADAL" clId="{010A265B-B67E-4E93-B812-4DAD0C7CDC97}" dt="2025-01-07T03:42:25.715" v="22" actId="27636"/>
          <ac:spMkLst>
            <pc:docMk/>
            <pc:sldMk cId="3749245979" sldId="293"/>
            <ac:spMk id="3" creationId="{DFBE57AA-96AE-A037-D62D-D1D4443B120E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6" creationId="{23A02C39-153B-B48C-16E1-1FB29649FDDD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9" creationId="{C3191645-BB7B-D7B3-18EA-906BA53A1606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10" creationId="{97604FBF-F1EF-6359-0BFD-37D1056CD714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11" creationId="{2B97769D-68A6-3DEF-AC06-E450B44AF9D8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12" creationId="{3C0D0AF2-7231-CB47-A531-0C826901E8B4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13" creationId="{5C4F596F-D1AC-CCEA-875D-97354B801D04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14" creationId="{A9793FA5-C702-7D1C-F862-811D52ADCA64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15" creationId="{6B5CB630-7D12-4F77-8A98-AF6D56ED12EB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16" creationId="{8F0289D7-761D-9491-969C-F27134B324CB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21" creationId="{367E6934-963F-F952-983A-6FE5F85711D9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23" creationId="{F8DABC47-8A7C-6B50-1B81-F8CDBB3F63DF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24" creationId="{81DF9396-F3CF-E787-B77B-8CCBF431578F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25" creationId="{7DE277DA-8B93-A4CB-AC6D-91C8F45CEA93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26" creationId="{08D698DB-B950-D6CE-C805-6AD466EFC05E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27" creationId="{0D050B89-33F3-EF72-BF5B-D7060C3672BE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29" creationId="{05497425-B20C-EB66-00D2-A58526524C78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30" creationId="{2AED955D-23B0-189E-8E1E-6EFF3C991B57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31" creationId="{4A03A9FA-2EB8-9A87-F358-F043AD290D0A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32" creationId="{24F2E0BD-9916-30D8-B2BC-504A06C44319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33" creationId="{F79B4FE0-5D92-1991-F7A6-8E83A2ED3108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34" creationId="{AB1D7D59-993C-CECE-554D-62E8BEEE75F3}"/>
          </ac:spMkLst>
        </pc:spChg>
        <pc:spChg chg="del">
          <ac:chgData name="Jayasankar Thippabattini" userId="44c3813e-352f-4090-9f7b-e2959a7f1f10" providerId="ADAL" clId="{010A265B-B67E-4E93-B812-4DAD0C7CDC97}" dt="2025-01-07T03:42:25.715" v="21" actId="478"/>
          <ac:spMkLst>
            <pc:docMk/>
            <pc:sldMk cId="3749245979" sldId="293"/>
            <ac:spMk id="35" creationId="{ADD32875-151F-8BA8-BB1B-67CB5F6E810F}"/>
          </ac:spMkLst>
        </pc:spChg>
        <pc:picChg chg="del">
          <ac:chgData name="Jayasankar Thippabattini" userId="44c3813e-352f-4090-9f7b-e2959a7f1f10" providerId="ADAL" clId="{010A265B-B67E-4E93-B812-4DAD0C7CDC97}" dt="2025-01-07T03:42:25.715" v="21" actId="478"/>
          <ac:picMkLst>
            <pc:docMk/>
            <pc:sldMk cId="3749245979" sldId="293"/>
            <ac:picMk id="17" creationId="{90170346-8F45-B0C4-48CA-6BAC76ED63AC}"/>
          </ac:picMkLst>
        </pc:picChg>
        <pc:picChg chg="del">
          <ac:chgData name="Jayasankar Thippabattini" userId="44c3813e-352f-4090-9f7b-e2959a7f1f10" providerId="ADAL" clId="{010A265B-B67E-4E93-B812-4DAD0C7CDC97}" dt="2025-01-07T03:42:25.715" v="21" actId="478"/>
          <ac:picMkLst>
            <pc:docMk/>
            <pc:sldMk cId="3749245979" sldId="293"/>
            <ac:picMk id="18" creationId="{917D8C49-BACA-7A29-F688-8882AF3A17E4}"/>
          </ac:picMkLst>
        </pc:picChg>
        <pc:picChg chg="del">
          <ac:chgData name="Jayasankar Thippabattini" userId="44c3813e-352f-4090-9f7b-e2959a7f1f10" providerId="ADAL" clId="{010A265B-B67E-4E93-B812-4DAD0C7CDC97}" dt="2025-01-07T03:42:25.715" v="21" actId="478"/>
          <ac:picMkLst>
            <pc:docMk/>
            <pc:sldMk cId="3749245979" sldId="293"/>
            <ac:picMk id="19" creationId="{9B37DB83-7017-E792-E989-F015579080FF}"/>
          </ac:picMkLst>
        </pc:picChg>
        <pc:picChg chg="del">
          <ac:chgData name="Jayasankar Thippabattini" userId="44c3813e-352f-4090-9f7b-e2959a7f1f10" providerId="ADAL" clId="{010A265B-B67E-4E93-B812-4DAD0C7CDC97}" dt="2025-01-07T03:42:25.715" v="21" actId="478"/>
          <ac:picMkLst>
            <pc:docMk/>
            <pc:sldMk cId="3749245979" sldId="293"/>
            <ac:picMk id="20" creationId="{95F55E9D-CBAA-1EE8-17B8-0D5253CC8BCF}"/>
          </ac:picMkLst>
        </pc:picChg>
        <pc:picChg chg="del">
          <ac:chgData name="Jayasankar Thippabattini" userId="44c3813e-352f-4090-9f7b-e2959a7f1f10" providerId="ADAL" clId="{010A265B-B67E-4E93-B812-4DAD0C7CDC97}" dt="2025-01-07T03:42:25.715" v="21" actId="478"/>
          <ac:picMkLst>
            <pc:docMk/>
            <pc:sldMk cId="3749245979" sldId="293"/>
            <ac:picMk id="22" creationId="{C3C5D5B5-9A78-D65D-6E6B-D6FFA6859AF5}"/>
          </ac:picMkLst>
        </pc:picChg>
        <pc:picChg chg="del">
          <ac:chgData name="Jayasankar Thippabattini" userId="44c3813e-352f-4090-9f7b-e2959a7f1f10" providerId="ADAL" clId="{010A265B-B67E-4E93-B812-4DAD0C7CDC97}" dt="2025-01-07T03:42:25.715" v="21" actId="478"/>
          <ac:picMkLst>
            <pc:docMk/>
            <pc:sldMk cId="3749245979" sldId="293"/>
            <ac:picMk id="28" creationId="{1AC7B188-E1E9-C395-2ED8-3225E5107B24}"/>
          </ac:picMkLst>
        </pc:picChg>
      </pc:sldChg>
      <pc:sldChg chg="del">
        <pc:chgData name="Jayasankar Thippabattini" userId="44c3813e-352f-4090-9f7b-e2959a7f1f10" providerId="ADAL" clId="{010A265B-B67E-4E93-B812-4DAD0C7CDC97}" dt="2025-01-07T03:42:31.043" v="23" actId="2696"/>
        <pc:sldMkLst>
          <pc:docMk/>
          <pc:sldMk cId="1078355405" sldId="29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EB1756-EEC6-4BF1-819C-DB508DE4E140}" type="datetimeFigureOut">
              <a:rPr lang="de-DE" sz="1050" smtClean="0"/>
              <a:t>10.01.2025</a:t>
            </a:fld>
            <a:endParaRPr lang="de-DE" sz="105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DF97C-5536-43D7-954A-37CF4263AD34}" type="slidenum">
              <a:rPr lang="de-DE" sz="1050" smtClean="0"/>
              <a:t>‹#›</a:t>
            </a:fld>
            <a:endParaRPr lang="de-DE" sz="1050"/>
          </a:p>
        </p:txBody>
      </p:sp>
    </p:spTree>
    <p:extLst>
      <p:ext uri="{BB962C8B-B14F-4D97-AF65-F5344CB8AC3E}">
        <p14:creationId xmlns:p14="http://schemas.microsoft.com/office/powerpoint/2010/main" val="2485996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+mn-lt"/>
                <a:sym typeface="FK CARIAD Light" pitchFamily="50" charset="0"/>
              </a:defRPr>
            </a:lvl1pPr>
          </a:lstStyle>
          <a:p>
            <a:fld id="{846D7734-4694-44AB-961B-1F0302DA1C20}" type="datetimeFigureOut">
              <a:rPr lang="de-DE" smtClean="0"/>
              <a:pPr/>
              <a:t>10.0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>
                <a:latin typeface="+mn-lt"/>
                <a:sym typeface="FK CARIAD Light" pitchFamily="50" charset="0"/>
              </a:defRPr>
            </a:lvl1pPr>
          </a:lstStyle>
          <a:p>
            <a:fld id="{7323341F-B2D7-455A-923F-83B35001154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0050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  <a:sym typeface="FK CARIAD Light" pitchFamily="50" charset="0"/>
      </a:defRPr>
    </a:lvl1pPr>
    <a:lvl2pPr marL="685800" indent="-228600" algn="l" defTabSz="914400" rtl="0" eaLnBrk="1" latinLnBrk="0" hangingPunct="1"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  <a:sym typeface="FK CARIAD Light" pitchFamily="50" charset="0"/>
      </a:defRPr>
    </a:lvl2pPr>
    <a:lvl3pPr marL="1143000" indent="-228600" algn="l" defTabSz="914400" rtl="0" eaLnBrk="1" latinLnBrk="0" hangingPunct="1"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  <a:sym typeface="FK CARIAD Light" pitchFamily="50" charset="0"/>
      </a:defRPr>
    </a:lvl3pPr>
    <a:lvl4pPr marL="1600200" indent="-228600" algn="l" defTabSz="914400" rtl="0" eaLnBrk="1" latinLnBrk="0" hangingPunct="1"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  <a:sym typeface="FK CARIAD Light" pitchFamily="50" charset="0"/>
      </a:defRPr>
    </a:lvl4pPr>
    <a:lvl5pPr marL="2057400" indent="-228600" algn="l" defTabSz="914400" rtl="0" eaLnBrk="1" latinLnBrk="0" hangingPunct="1">
      <a:buFont typeface="Symbol" panose="05050102010706020507" pitchFamily="18" charset="2"/>
      <a:buChar char="-"/>
      <a:defRPr sz="1100" kern="1200">
        <a:solidFill>
          <a:schemeClr val="tx1"/>
        </a:solidFill>
        <a:latin typeface="+mn-lt"/>
        <a:ea typeface="+mn-ea"/>
        <a:cs typeface="+mn-cs"/>
        <a:sym typeface="FK CARIAD Light" pitchFamily="50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3341F-B2D7-455A-923F-83B350011543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878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blipFill dpi="0" rotWithShape="1">
          <a:blip r:embed="rId4">
            <a:lum/>
          </a:blip>
          <a:srcRect/>
          <a:stretch>
            <a:fillRect t="-10000"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872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6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35" name="Textfeld 8"/>
          <p:cNvSpPr txBox="1"/>
          <p:nvPr userDrawn="1"/>
        </p:nvSpPr>
        <p:spPr>
          <a:xfrm>
            <a:off x="98138" y="6286983"/>
            <a:ext cx="5885881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/>
            <a:r>
              <a:rPr lang="en-US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We</a:t>
            </a:r>
            <a:r>
              <a:rPr lang="en-US" baseline="0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 transform automotive mobility</a:t>
            </a:r>
            <a:endParaRPr lang="en-US" noProof="0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grpSp>
        <p:nvGrpSpPr>
          <p:cNvPr id="12" name="Gruppieren 11"/>
          <p:cNvGrpSpPr/>
          <p:nvPr userDrawn="1"/>
        </p:nvGrpSpPr>
        <p:grpSpPr>
          <a:xfrm rot="10800000">
            <a:off x="5270323" y="1073232"/>
            <a:ext cx="3102191" cy="3668821"/>
            <a:chOff x="13419475" y="2272729"/>
            <a:chExt cx="3367983" cy="3983164"/>
          </a:xfrm>
          <a:solidFill>
            <a:schemeClr val="accent2"/>
          </a:solidFill>
        </p:grpSpPr>
        <p:sp>
          <p:nvSpPr>
            <p:cNvPr id="15" name="Rechteck 14"/>
            <p:cNvSpPr/>
            <p:nvPr userDrawn="1"/>
          </p:nvSpPr>
          <p:spPr>
            <a:xfrm rot="2700000">
              <a:off x="14937358" y="754846"/>
              <a:ext cx="332218" cy="33679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n-lt"/>
                <a:sym typeface="FK CARIAD Light" pitchFamily="50" charset="0"/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 rot="18900000">
              <a:off x="14954220" y="2953699"/>
              <a:ext cx="332218" cy="33021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n-lt"/>
                <a:sym typeface="FK CARIAD Light" pitchFamily="50" charset="0"/>
              </a:endParaRPr>
            </a:p>
          </p:txBody>
        </p:sp>
      </p:grp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487581"/>
            <a:ext cx="11520000" cy="753161"/>
          </a:xfrm>
          <a:prstGeom prst="rect">
            <a:avLst/>
          </a:prstGeom>
        </p:spPr>
        <p:txBody>
          <a:bodyPr anchor="t"/>
          <a:lstStyle>
            <a:lvl1pPr algn="l">
              <a:defRPr sz="6600" baseline="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38" y="1344293"/>
            <a:ext cx="11520000" cy="538782"/>
          </a:xfrm>
          <a:prstGeom prst="rect">
            <a:avLst/>
          </a:prstGeom>
        </p:spPr>
        <p:txBody>
          <a:bodyPr anchor="t"/>
          <a:lstStyle>
            <a:lvl1pPr marL="0" marR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3200" baseline="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Placeholder subtitle | place | date [optional]</a:t>
            </a:r>
          </a:p>
        </p:txBody>
      </p:sp>
    </p:spTree>
    <p:extLst>
      <p:ext uri="{BB962C8B-B14F-4D97-AF65-F5344CB8AC3E}">
        <p14:creationId xmlns:p14="http://schemas.microsoft.com/office/powerpoint/2010/main" val="333535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8265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Halbbogen 9"/>
          <p:cNvSpPr/>
          <p:nvPr userDrawn="1"/>
        </p:nvSpPr>
        <p:spPr>
          <a:xfrm rot="10800000">
            <a:off x="367437" y="186812"/>
            <a:ext cx="5353905" cy="5354115"/>
          </a:xfrm>
          <a:prstGeom prst="blockArc">
            <a:avLst>
              <a:gd name="adj1" fmla="val 10787278"/>
              <a:gd name="adj2" fmla="val 21530093"/>
              <a:gd name="adj3" fmla="val 620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800" noProof="0" dirty="0" err="1">
              <a:solidFill>
                <a:schemeClr val="tx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6088783" y="-1"/>
            <a:ext cx="6103217" cy="623424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360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8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pPr marL="0" marR="0" lvl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[optional]</a:t>
            </a:r>
          </a:p>
        </p:txBody>
      </p:sp>
      <p:sp>
        <p:nvSpPr>
          <p:cNvPr id="22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23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4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28719" y="983795"/>
            <a:ext cx="5760000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line [optional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8783" y="487363"/>
            <a:ext cx="5759936" cy="455612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79911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3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6086168" y="-1"/>
            <a:ext cx="6102000" cy="62342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18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[optional]</a:t>
            </a:r>
          </a:p>
        </p:txBody>
      </p:sp>
      <p:sp>
        <p:nvSpPr>
          <p:cNvPr id="15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779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7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779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0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hteck 10"/>
          <p:cNvSpPr/>
          <p:nvPr userDrawn="1"/>
        </p:nvSpPr>
        <p:spPr>
          <a:xfrm rot="1791105">
            <a:off x="2891169" y="872900"/>
            <a:ext cx="302400" cy="5338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de-DE">
              <a:latin typeface="+mn-lt"/>
              <a:sym typeface="FK CARIAD Light" pitchFamily="50" charset="0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22335" y="983795"/>
            <a:ext cx="5760000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line [optional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2333" y="487363"/>
            <a:ext cx="5760000" cy="455611"/>
          </a:xfrm>
        </p:spPr>
        <p:txBody>
          <a:bodyPr anchor="t">
            <a:normAutofit/>
          </a:bodyPr>
          <a:lstStyle>
            <a:lvl1pPr>
              <a:spcAft>
                <a:spcPts val="600"/>
              </a:spcAft>
              <a:defRPr sz="3600"/>
            </a:lvl1pPr>
          </a:lstStyle>
          <a:p>
            <a:r>
              <a:rPr lang="de-DE" dirty="0"/>
              <a:t>Chapter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4CC1C4B-C06D-1918-CEBA-24A2DC111B9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BA8251A9-A9C1-1FAC-8622-E0B7B0F5D35C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348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0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6099245" y="0"/>
            <a:ext cx="6098400" cy="62342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[optional]</a:t>
            </a:r>
          </a:p>
        </p:txBody>
      </p:sp>
      <p:sp>
        <p:nvSpPr>
          <p:cNvPr id="14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9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1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7" name="Gruppieren 26"/>
          <p:cNvGrpSpPr/>
          <p:nvPr userDrawn="1"/>
        </p:nvGrpSpPr>
        <p:grpSpPr>
          <a:xfrm>
            <a:off x="1595045" y="1288421"/>
            <a:ext cx="2898694" cy="3581292"/>
            <a:chOff x="5037087" y="963578"/>
            <a:chExt cx="2898694" cy="3581292"/>
          </a:xfrm>
        </p:grpSpPr>
        <p:sp>
          <p:nvSpPr>
            <p:cNvPr id="28" name="Rechteck 14"/>
            <p:cNvSpPr/>
            <p:nvPr userDrawn="1"/>
          </p:nvSpPr>
          <p:spPr>
            <a:xfrm rot="13500000">
              <a:off x="6333434" y="2942523"/>
              <a:ext cx="306000" cy="289869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de-DE">
                <a:latin typeface="+mn-lt"/>
                <a:sym typeface="FK CARIAD Light" pitchFamily="50" charset="0"/>
              </a:endParaRPr>
            </a:p>
          </p:txBody>
        </p:sp>
        <p:sp>
          <p:nvSpPr>
            <p:cNvPr id="29" name="Rechteck 15"/>
            <p:cNvSpPr/>
            <p:nvPr userDrawn="1"/>
          </p:nvSpPr>
          <p:spPr>
            <a:xfrm rot="8100000">
              <a:off x="6357092" y="963578"/>
              <a:ext cx="306000" cy="29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de-DE">
                <a:latin typeface="+mn-lt"/>
                <a:sym typeface="FK CARIAD Light" pitchFamily="50" charset="0"/>
              </a:endParaRPr>
            </a:p>
          </p:txBody>
        </p:sp>
      </p:grpSp>
      <p:sp>
        <p:nvSpPr>
          <p:cNvPr id="13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9245" y="983795"/>
            <a:ext cx="5760000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Aft>
                <a:spcPts val="600"/>
              </a:spcAft>
              <a:buNone/>
              <a:defRPr sz="1800" baseline="0">
                <a:solidFill>
                  <a:schemeClr val="accent3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line [optional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9245" y="487363"/>
            <a:ext cx="5760000" cy="455612"/>
          </a:xfrm>
        </p:spPr>
        <p:txBody>
          <a:bodyPr anchor="t">
            <a:normAutofit/>
          </a:bodyPr>
          <a:lstStyle>
            <a:lvl1pPr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645049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2142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5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486" y="5680430"/>
            <a:ext cx="11518963" cy="4248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4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6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8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1" hasCustomPrompt="1"/>
          </p:nvPr>
        </p:nvSpPr>
        <p:spPr>
          <a:xfrm>
            <a:off x="336550" y="1653687"/>
            <a:ext cx="11518900" cy="3902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250468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797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7200" y="5680430"/>
            <a:ext cx="11518249" cy="4248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20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779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22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779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5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 baseline="0"/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>
          <a:xfrm>
            <a:off x="336550" y="1649016"/>
            <a:ext cx="11518900" cy="390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8211C2-6C25-9F49-E642-4750D2BD53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6" name="TextBox 8">
            <a:extLst>
              <a:ext uri="{FF2B5EF4-FFF2-40B4-BE49-F238E27FC236}">
                <a16:creationId xmlns:a16="http://schemas.microsoft.com/office/drawing/2014/main" id="{6CA441A0-B7BC-1187-18B2-174BECA0405B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846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241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486" y="5680430"/>
            <a:ext cx="11518963" cy="4248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4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5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1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1" hasCustomPrompt="1"/>
          </p:nvPr>
        </p:nvSpPr>
        <p:spPr>
          <a:xfrm>
            <a:off x="336550" y="1650736"/>
            <a:ext cx="11518900" cy="39006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49319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137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486" y="5680430"/>
            <a:ext cx="11518963" cy="4248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5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22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3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9" hasCustomPrompt="1"/>
          </p:nvPr>
        </p:nvSpPr>
        <p:spPr>
          <a:xfrm>
            <a:off x="336486" y="1651000"/>
            <a:ext cx="5760000" cy="3902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30" hasCustomPrompt="1"/>
          </p:nvPr>
        </p:nvSpPr>
        <p:spPr>
          <a:xfrm>
            <a:off x="6096000" y="1651000"/>
            <a:ext cx="5759450" cy="39020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128479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6624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486" y="5680430"/>
            <a:ext cx="11518963" cy="4248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22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779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24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779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7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 baseline="0"/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9" hasCustomPrompt="1"/>
          </p:nvPr>
        </p:nvSpPr>
        <p:spPr>
          <a:xfrm>
            <a:off x="337200" y="1650736"/>
            <a:ext cx="5760000" cy="390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30" hasCustomPrompt="1"/>
          </p:nvPr>
        </p:nvSpPr>
        <p:spPr>
          <a:xfrm>
            <a:off x="6096000" y="1651000"/>
            <a:ext cx="5759450" cy="3902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13D2FD-E440-1790-DBFB-A2CC3080E0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BA54E75-3138-4422-9A0D-D7481C0BA36B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35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15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486" y="5680430"/>
            <a:ext cx="11518963" cy="4248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5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22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3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9" hasCustomPrompt="1"/>
          </p:nvPr>
        </p:nvSpPr>
        <p:spPr>
          <a:xfrm>
            <a:off x="337200" y="1650737"/>
            <a:ext cx="5760000" cy="3902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30" hasCustomPrompt="1"/>
          </p:nvPr>
        </p:nvSpPr>
        <p:spPr>
          <a:xfrm>
            <a:off x="6095450" y="1650737"/>
            <a:ext cx="5760000" cy="3902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171937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9221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5023343"/>
            <a:ext cx="3600000" cy="828000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256000" y="5023343"/>
            <a:ext cx="3600000" cy="828000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22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17" name="Datumsplatzhalter 12"/>
          <p:cNvSpPr>
            <a:spLocks noGrp="1"/>
          </p:cNvSpPr>
          <p:nvPr>
            <p:ph type="dt" sz="half" idx="28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8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9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9" hasCustomPrompt="1"/>
          </p:nvPr>
        </p:nvSpPr>
        <p:spPr>
          <a:xfrm>
            <a:off x="4295775" y="1371745"/>
            <a:ext cx="3600450" cy="447959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30" hasCustomPrompt="1"/>
          </p:nvPr>
        </p:nvSpPr>
        <p:spPr>
          <a:xfrm>
            <a:off x="336550" y="1371744"/>
            <a:ext cx="3598863" cy="353252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31" hasCustomPrompt="1"/>
          </p:nvPr>
        </p:nvSpPr>
        <p:spPr>
          <a:xfrm>
            <a:off x="8256587" y="1371600"/>
            <a:ext cx="3598863" cy="35321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348582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1"/>
          <p:cNvSpPr/>
          <p:nvPr userDrawn="1"/>
        </p:nvSpPr>
        <p:spPr>
          <a:xfrm rot="10800000">
            <a:off x="1" y="-4"/>
            <a:ext cx="12192000" cy="4781553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chemeClr val="tx1">
                  <a:alpha val="3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sym typeface="FK CARIAD Light" pitchFamily="50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55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6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5"/>
            <a:ext cx="6088783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 rot="1810808">
            <a:off x="6952570" y="565759"/>
            <a:ext cx="308205" cy="5554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 err="1">
              <a:solidFill>
                <a:schemeClr val="tx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488187"/>
            <a:ext cx="11520000" cy="753161"/>
          </a:xfrm>
          <a:prstGeom prst="rect">
            <a:avLst/>
          </a:prstGeom>
        </p:spPr>
        <p:txBody>
          <a:bodyPr anchor="t"/>
          <a:lstStyle>
            <a:lvl1pPr algn="l">
              <a:defRPr sz="6600" baseline="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26" name="Textfeld 8"/>
          <p:cNvSpPr txBox="1"/>
          <p:nvPr userDrawn="1"/>
        </p:nvSpPr>
        <p:spPr>
          <a:xfrm>
            <a:off x="98137" y="6286983"/>
            <a:ext cx="5885882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/>
            <a:r>
              <a:rPr lang="en-US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We</a:t>
            </a:r>
            <a:r>
              <a:rPr lang="en-US" baseline="0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 transform automotive mobility</a:t>
            </a:r>
            <a:endParaRPr lang="en-US" noProof="0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38" y="1344293"/>
            <a:ext cx="11520000" cy="538782"/>
          </a:xfrm>
          <a:prstGeom prst="rect">
            <a:avLst/>
          </a:prstGeom>
        </p:spPr>
        <p:txBody>
          <a:bodyPr anchor="t"/>
          <a:lstStyle>
            <a:lvl1pPr marL="0" marR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3200" baseline="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Placeholder subtitle | place | date [optional]</a:t>
            </a:r>
          </a:p>
        </p:txBody>
      </p:sp>
    </p:spTree>
    <p:extLst>
      <p:ext uri="{BB962C8B-B14F-4D97-AF65-F5344CB8AC3E}">
        <p14:creationId xmlns:p14="http://schemas.microsoft.com/office/powerpoint/2010/main" val="348887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2869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42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5023343"/>
            <a:ext cx="3600000" cy="828000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44" name="Textplatzhalt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256000" y="5023343"/>
            <a:ext cx="3600000" cy="828000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21" name="Datumsplatzhalter 12"/>
          <p:cNvSpPr>
            <a:spLocks noGrp="1"/>
          </p:cNvSpPr>
          <p:nvPr>
            <p:ph type="dt" sz="half" idx="28"/>
          </p:nvPr>
        </p:nvSpPr>
        <p:spPr>
          <a:xfrm>
            <a:off x="568833" y="6321325"/>
            <a:ext cx="541779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23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779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6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 baseline="0"/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9" hasCustomPrompt="1"/>
          </p:nvPr>
        </p:nvSpPr>
        <p:spPr>
          <a:xfrm>
            <a:off x="4295775" y="1371600"/>
            <a:ext cx="3600450" cy="4479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30" hasCustomPrompt="1"/>
          </p:nvPr>
        </p:nvSpPr>
        <p:spPr>
          <a:xfrm>
            <a:off x="336550" y="1371600"/>
            <a:ext cx="3598863" cy="35300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31" hasCustomPrompt="1"/>
          </p:nvPr>
        </p:nvSpPr>
        <p:spPr>
          <a:xfrm>
            <a:off x="8256587" y="1371600"/>
            <a:ext cx="3598863" cy="3530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59B5063-FF7D-4E53-6B37-331D751207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10" name="TextBox 8">
            <a:extLst>
              <a:ext uri="{FF2B5EF4-FFF2-40B4-BE49-F238E27FC236}">
                <a16:creationId xmlns:a16="http://schemas.microsoft.com/office/drawing/2014/main" id="{BE24B329-E495-269F-88FC-9C869F438728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70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173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41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5023343"/>
            <a:ext cx="3600000" cy="828000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43" name="Textplatzhalt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256000" y="5023343"/>
            <a:ext cx="3600000" cy="828000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23" name="Datumsplatzhalter 12"/>
          <p:cNvSpPr>
            <a:spLocks noGrp="1"/>
          </p:cNvSpPr>
          <p:nvPr>
            <p:ph type="dt" sz="half" idx="28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24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5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9" hasCustomPrompt="1"/>
          </p:nvPr>
        </p:nvSpPr>
        <p:spPr>
          <a:xfrm>
            <a:off x="4295775" y="1371600"/>
            <a:ext cx="3600450" cy="44799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30" hasCustomPrompt="1"/>
          </p:nvPr>
        </p:nvSpPr>
        <p:spPr>
          <a:xfrm>
            <a:off x="336550" y="1371600"/>
            <a:ext cx="3598863" cy="3531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31" hasCustomPrompt="1"/>
          </p:nvPr>
        </p:nvSpPr>
        <p:spPr>
          <a:xfrm>
            <a:off x="8257687" y="1371600"/>
            <a:ext cx="3598863" cy="3531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83576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Pictur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278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6088783" y="0"/>
            <a:ext cx="6103217" cy="62342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[optional]</a:t>
            </a:r>
          </a:p>
        </p:txBody>
      </p:sp>
      <p:sp>
        <p:nvSpPr>
          <p:cNvPr id="11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2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3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336550" y="485775"/>
            <a:ext cx="5411788" cy="55229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75709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Pictur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715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7417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6097588" y="0"/>
            <a:ext cx="6096000" cy="622035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[optional]</a:t>
            </a:r>
          </a:p>
        </p:txBody>
      </p:sp>
      <p:sp>
        <p:nvSpPr>
          <p:cNvPr id="11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6451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6451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6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336550" y="485775"/>
            <a:ext cx="5411788" cy="55229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F0A196-D3F2-748F-180F-82F1D54226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8" name="TextBox 8">
            <a:extLst>
              <a:ext uri="{FF2B5EF4-FFF2-40B4-BE49-F238E27FC236}">
                <a16:creationId xmlns:a16="http://schemas.microsoft.com/office/drawing/2014/main" id="{8395E67D-B078-20C1-DB3A-1FBC09F9C140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59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Pictur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141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6088783" y="0"/>
            <a:ext cx="6103217" cy="62342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[optional]</a:t>
            </a:r>
          </a:p>
        </p:txBody>
      </p:sp>
      <p:sp>
        <p:nvSpPr>
          <p:cNvPr id="10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1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2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336550" y="487363"/>
            <a:ext cx="5411788" cy="55213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182568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Quot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477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0" y="0"/>
            <a:ext cx="6088783" cy="62342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[optional]</a:t>
            </a:r>
          </a:p>
        </p:txBody>
      </p:sp>
      <p:sp>
        <p:nvSpPr>
          <p:cNvPr id="11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2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3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6438900" y="485775"/>
            <a:ext cx="5411788" cy="55229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330100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69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-5821" y="0"/>
            <a:ext cx="6091990" cy="62342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[optional]</a:t>
            </a:r>
          </a:p>
        </p:txBody>
      </p:sp>
      <p:sp>
        <p:nvSpPr>
          <p:cNvPr id="11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779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779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6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6438900" y="485775"/>
            <a:ext cx="5411788" cy="55229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F84CC2-A586-A99E-F23C-B3965038EB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8" name="TextBox 8">
            <a:extLst>
              <a:ext uri="{FF2B5EF4-FFF2-40B4-BE49-F238E27FC236}">
                <a16:creationId xmlns:a16="http://schemas.microsoft.com/office/drawing/2014/main" id="{8193D0BB-F1E3-304D-3537-9E1674821C60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80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Quot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958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0" y="0"/>
            <a:ext cx="6088783" cy="623424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[optional]</a:t>
            </a:r>
          </a:p>
        </p:txBody>
      </p:sp>
      <p:sp>
        <p:nvSpPr>
          <p:cNvPr id="10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1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2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6438900" y="487363"/>
            <a:ext cx="5411788" cy="55213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, 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video</a:t>
            </a:r>
            <a:r>
              <a:rPr lang="de-DE" dirty="0"/>
              <a:t>, SmartArt etc.</a:t>
            </a:r>
          </a:p>
        </p:txBody>
      </p:sp>
    </p:spTree>
    <p:extLst>
      <p:ext uri="{BB962C8B-B14F-4D97-AF65-F5344CB8AC3E}">
        <p14:creationId xmlns:p14="http://schemas.microsoft.com/office/powerpoint/2010/main" val="1960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738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spcAft>
                <a:spcPts val="600"/>
              </a:spcAft>
              <a:buNone/>
              <a:defRPr sz="12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486" y="5680430"/>
            <a:ext cx="11518963" cy="424800"/>
          </a:xfrm>
        </p:spPr>
        <p:txBody>
          <a:bodyPr anchor="ctr">
            <a:noAutofit/>
          </a:bodyPr>
          <a:lstStyle>
            <a:lvl1pPr marL="0" indent="0"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4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8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9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/>
          <a:lstStyle>
            <a:lvl1pPr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</p:spTree>
    <p:extLst>
      <p:ext uri="{BB962C8B-B14F-4D97-AF65-F5344CB8AC3E}">
        <p14:creationId xmlns:p14="http://schemas.microsoft.com/office/powerpoint/2010/main" val="342620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42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spcAft>
                <a:spcPts val="600"/>
              </a:spcAft>
              <a:buNone/>
              <a:defRPr sz="12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486" y="5680430"/>
            <a:ext cx="11518964" cy="424800"/>
          </a:xfrm>
        </p:spPr>
        <p:txBody>
          <a:bodyPr anchor="ctr">
            <a:noAutofit/>
          </a:bodyPr>
          <a:lstStyle>
            <a:lvl1pPr marL="0" indent="0"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7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779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8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779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2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Aft>
                <a:spcPts val="600"/>
              </a:spcAft>
              <a:buNone/>
              <a:defRPr sz="1800" baseline="0">
                <a:solidFill>
                  <a:schemeClr val="accent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/>
          <a:lstStyle>
            <a:lvl1pPr>
              <a:spcAft>
                <a:spcPts val="600"/>
              </a:spcAft>
              <a:defRPr sz="3600"/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801EF8-0740-9338-27B9-12AE4B81AF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7" name="TextBox 8">
            <a:extLst>
              <a:ext uri="{FF2B5EF4-FFF2-40B4-BE49-F238E27FC236}">
                <a16:creationId xmlns:a16="http://schemas.microsoft.com/office/drawing/2014/main" id="{E998204B-C9B6-CC56-D6F6-6E0333D49A96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9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blipFill dpi="0" rotWithShape="1">
          <a:blip r:embed="rId4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782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6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6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4067493" y="2732167"/>
            <a:ext cx="3935636" cy="2220834"/>
            <a:chOff x="4067493" y="2732167"/>
            <a:chExt cx="3935636" cy="2220834"/>
          </a:xfrm>
        </p:grpSpPr>
        <p:sp>
          <p:nvSpPr>
            <p:cNvPr id="14" name="Rechteck 13"/>
            <p:cNvSpPr/>
            <p:nvPr userDrawn="1"/>
          </p:nvSpPr>
          <p:spPr>
            <a:xfrm flipH="1">
              <a:off x="7697129" y="2732167"/>
              <a:ext cx="306000" cy="222083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n-lt"/>
                <a:sym typeface="FK CARIAD Light" pitchFamily="50" charset="0"/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 rot="16200000">
              <a:off x="5865693" y="933967"/>
              <a:ext cx="306000" cy="39024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n-lt"/>
                <a:sym typeface="FK CARIAD Light" pitchFamily="50" charset="0"/>
              </a:endParaRPr>
            </a:p>
          </p:txBody>
        </p:sp>
      </p:grpSp>
      <p:sp>
        <p:nvSpPr>
          <p:cNvPr id="24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34963" y="487581"/>
            <a:ext cx="11520000" cy="753161"/>
          </a:xfrm>
          <a:prstGeom prst="rect">
            <a:avLst/>
          </a:prstGeom>
        </p:spPr>
        <p:txBody>
          <a:bodyPr anchor="t"/>
          <a:lstStyle>
            <a:lvl1pPr algn="l">
              <a:defRPr sz="6600" baseline="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12" name="Textfeld 8"/>
          <p:cNvSpPr txBox="1"/>
          <p:nvPr userDrawn="1"/>
        </p:nvSpPr>
        <p:spPr>
          <a:xfrm>
            <a:off x="98137" y="6286983"/>
            <a:ext cx="5885881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/>
            <a:r>
              <a:rPr lang="en-US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We</a:t>
            </a:r>
            <a:r>
              <a:rPr lang="en-US" baseline="0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 transform automotive mobility.</a:t>
            </a:r>
            <a:endParaRPr lang="en-US" noProof="0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38" y="1344293"/>
            <a:ext cx="11520000" cy="538782"/>
          </a:xfrm>
          <a:prstGeom prst="rect">
            <a:avLst/>
          </a:prstGeom>
        </p:spPr>
        <p:txBody>
          <a:bodyPr anchor="t"/>
          <a:lstStyle>
            <a:lvl1pPr marL="0" marR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3200" baseline="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Placeholder subtitle | place | date [optional]</a:t>
            </a:r>
          </a:p>
        </p:txBody>
      </p:sp>
    </p:spTree>
    <p:extLst>
      <p:ext uri="{BB962C8B-B14F-4D97-AF65-F5344CB8AC3E}">
        <p14:creationId xmlns:p14="http://schemas.microsoft.com/office/powerpoint/2010/main" val="2802884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322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42" y="39091"/>
            <a:ext cx="11814007" cy="332192"/>
          </a:xfrm>
        </p:spPr>
        <p:txBody>
          <a:bodyPr anchor="t">
            <a:noAutofit/>
          </a:bodyPr>
          <a:lstStyle>
            <a:lvl1pPr marL="0" indent="0">
              <a:spcAft>
                <a:spcPts val="600"/>
              </a:spcAft>
              <a:buNone/>
              <a:defRPr sz="12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category [optional]</a:t>
            </a: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6486" y="5680430"/>
            <a:ext cx="11518963" cy="424800"/>
          </a:xfrm>
        </p:spPr>
        <p:txBody>
          <a:bodyPr anchor="ctr">
            <a:noAutofit/>
          </a:bodyPr>
          <a:lstStyle>
            <a:lvl1pPr marL="0" indent="0"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>
              <a:buNone/>
              <a:defRPr sz="1800">
                <a:latin typeface="FK CARIAD Light" pitchFamily="2" charset="0"/>
              </a:defRPr>
            </a:lvl2pPr>
            <a:lvl3pPr marL="914400" indent="0">
              <a:buNone/>
              <a:defRPr sz="1800">
                <a:latin typeface="FK CARIAD Light" pitchFamily="2" charset="0"/>
              </a:defRPr>
            </a:lvl3pPr>
            <a:lvl4pPr marL="1371600" indent="0">
              <a:buNone/>
              <a:defRPr sz="1800">
                <a:latin typeface="FK CARIAD Light" pitchFamily="2" charset="0"/>
              </a:defRPr>
            </a:lvl4pPr>
            <a:lvl5pPr marL="1828800" indent="0">
              <a:buNone/>
              <a:defRPr sz="1800">
                <a:latin typeface="FK CARIAD Light" pitchFamily="2" charset="0"/>
              </a:defRPr>
            </a:lvl5pPr>
          </a:lstStyle>
          <a:p>
            <a:pPr lvl="0"/>
            <a:r>
              <a:rPr lang="en-US" noProof="0" dirty="0"/>
              <a:t>Placeholder key message</a:t>
            </a:r>
          </a:p>
        </p:txBody>
      </p:sp>
      <p:sp>
        <p:nvSpPr>
          <p:cNvPr id="15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8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9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20" hasCustomPrompt="1"/>
          </p:nvPr>
        </p:nvSpPr>
        <p:spPr>
          <a:xfrm>
            <a:off x="336486" y="993777"/>
            <a:ext cx="11518964" cy="3454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Aft>
                <a:spcPts val="600"/>
              </a:spcAft>
              <a:buNone/>
              <a:defRPr sz="1800" baseline="0">
                <a:solidFill>
                  <a:schemeClr val="accent2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laceholder subtitle [optional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6550" y="487363"/>
            <a:ext cx="11520000" cy="455612"/>
          </a:xfrm>
        </p:spPr>
        <p:txBody>
          <a:bodyPr/>
          <a:lstStyle>
            <a:lvl1pPr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laceholder</a:t>
            </a:r>
            <a:r>
              <a:rPr lang="de-DE" dirty="0"/>
              <a:t> Slide Title</a:t>
            </a:r>
          </a:p>
        </p:txBody>
      </p:sp>
    </p:spTree>
    <p:extLst>
      <p:ext uri="{BB962C8B-B14F-4D97-AF65-F5344CB8AC3E}">
        <p14:creationId xmlns:p14="http://schemas.microsoft.com/office/powerpoint/2010/main" val="97910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046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8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9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0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44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06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9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779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2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779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4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2E3CDE-A645-0742-2D97-3C36067D675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6" name="TextBox 8">
            <a:extLst>
              <a:ext uri="{FF2B5EF4-FFF2-40B4-BE49-F238E27FC236}">
                <a16:creationId xmlns:a16="http://schemas.microsoft.com/office/drawing/2014/main" id="{18415000-45BC-750A-76CA-154E3C161C20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107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02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8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0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1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782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4"/>
          <p:cNvSpPr/>
          <p:nvPr userDrawn="1"/>
        </p:nvSpPr>
        <p:spPr>
          <a:xfrm rot="13500000">
            <a:off x="5494916" y="3004417"/>
            <a:ext cx="306000" cy="28986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de-DE">
              <a:latin typeface="+mn-lt"/>
              <a:sym typeface="FK CARIAD Light" pitchFamily="50" charset="0"/>
            </a:endParaRPr>
          </a:p>
        </p:txBody>
      </p:sp>
      <p:sp>
        <p:nvSpPr>
          <p:cNvPr id="20" name="Rechteck 15"/>
          <p:cNvSpPr/>
          <p:nvPr userDrawn="1"/>
        </p:nvSpPr>
        <p:spPr>
          <a:xfrm rot="8100000">
            <a:off x="5518574" y="1025472"/>
            <a:ext cx="306000" cy="299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de-DE">
              <a:latin typeface="+mn-lt"/>
              <a:sym typeface="FK CARIAD Light" pitchFamily="50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668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80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088783" y="6136005"/>
            <a:ext cx="6103217" cy="7219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800" noProof="0" dirty="0" err="1">
              <a:latin typeface="+mn-lt"/>
              <a:sym typeface="FK CARIAD Light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999" y="487364"/>
            <a:ext cx="11520000" cy="5617866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spcAft>
                <a:spcPts val="600"/>
              </a:spcAft>
              <a:defRPr sz="8000">
                <a:solidFill>
                  <a:schemeClr val="tx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laceholder for statement or quote</a:t>
            </a:r>
          </a:p>
        </p:txBody>
      </p:sp>
      <p:sp>
        <p:nvSpPr>
          <p:cNvPr id="11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168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3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168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4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AAD0BC-5982-6E46-9D87-383554ED96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7" y="6171080"/>
            <a:ext cx="1428821" cy="746553"/>
          </a:xfrm>
          <a:prstGeom prst="rect">
            <a:avLst/>
          </a:prstGeom>
        </p:spPr>
      </p:pic>
      <p:sp>
        <p:nvSpPr>
          <p:cNvPr id="6" name="TextBox 8">
            <a:extLst>
              <a:ext uri="{FF2B5EF4-FFF2-40B4-BE49-F238E27FC236}">
                <a16:creationId xmlns:a16="http://schemas.microsoft.com/office/drawing/2014/main" id="{0D727C1F-2F77-C648-CDD2-8B0AC878DEC0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tx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164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0"/>
          <p:cNvSpPr/>
          <p:nvPr userDrawn="1"/>
        </p:nvSpPr>
        <p:spPr>
          <a:xfrm rot="1791105">
            <a:off x="5490638" y="832918"/>
            <a:ext cx="302400" cy="533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de-DE">
              <a:latin typeface="+mn-lt"/>
              <a:sym typeface="FK CARIAD Light" pitchFamily="50" charset="0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07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80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088783" y="6136005"/>
            <a:ext cx="6103217" cy="7219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800" noProof="0" dirty="0" err="1">
              <a:latin typeface="+mn-lt"/>
              <a:sym typeface="FK CARIAD Light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2" y="487363"/>
            <a:ext cx="11520000" cy="561786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spcAft>
                <a:spcPts val="600"/>
              </a:spcAft>
              <a:defRPr sz="800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laceholder for statement or quot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5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9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690196-F491-9A29-53BB-54D4D940E40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8" name="TextBox 8">
            <a:extLst>
              <a:ext uri="{FF2B5EF4-FFF2-40B4-BE49-F238E27FC236}">
                <a16:creationId xmlns:a16="http://schemas.microsoft.com/office/drawing/2014/main" id="{EF2105A8-6601-C493-805E-8633BCEFCD25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24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701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80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088783" y="6136005"/>
            <a:ext cx="6103217" cy="7219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800" noProof="0" dirty="0" err="1">
              <a:latin typeface="+mn-lt"/>
              <a:sym typeface="FK CARIAD Light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2" y="487363"/>
            <a:ext cx="11520000" cy="561786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spcAft>
                <a:spcPts val="600"/>
              </a:spcAft>
              <a:defRPr sz="8000">
                <a:solidFill>
                  <a:schemeClr val="tx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laceholder for statement or quote</a:t>
            </a:r>
          </a:p>
        </p:txBody>
      </p:sp>
      <p:sp>
        <p:nvSpPr>
          <p:cNvPr id="11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168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168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4250371" y="2732167"/>
            <a:ext cx="3772008" cy="2124000"/>
            <a:chOff x="4250371" y="2732167"/>
            <a:chExt cx="3772008" cy="2124000"/>
          </a:xfrm>
        </p:grpSpPr>
        <p:sp>
          <p:nvSpPr>
            <p:cNvPr id="17" name="Rechteck 13"/>
            <p:cNvSpPr/>
            <p:nvPr userDrawn="1"/>
          </p:nvSpPr>
          <p:spPr>
            <a:xfrm flipH="1">
              <a:off x="7716379" y="2732167"/>
              <a:ext cx="306000" cy="21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de-DE">
                <a:latin typeface="+mn-lt"/>
                <a:sym typeface="FK CARIAD Light" pitchFamily="50" charset="0"/>
              </a:endParaRPr>
            </a:p>
          </p:txBody>
        </p:sp>
        <p:sp>
          <p:nvSpPr>
            <p:cNvPr id="18" name="Rechteck 14"/>
            <p:cNvSpPr/>
            <p:nvPr userDrawn="1"/>
          </p:nvSpPr>
          <p:spPr>
            <a:xfrm rot="16200000">
              <a:off x="5972971" y="1009567"/>
              <a:ext cx="306000" cy="3751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de-DE">
                <a:latin typeface="+mn-lt"/>
                <a:sym typeface="FK CARIAD Light" pitchFamily="50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82B9BBD9-D2EE-7C35-7A9E-B31070FA7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7" y="6171080"/>
            <a:ext cx="1428821" cy="7465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8D13FB4-D468-0FBB-4CE5-942151C75ACD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tx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14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692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80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5006060" y="649078"/>
            <a:ext cx="2124001" cy="5278127"/>
            <a:chOff x="5007389" y="346597"/>
            <a:chExt cx="2124001" cy="5278127"/>
          </a:xfrm>
        </p:grpSpPr>
        <p:sp>
          <p:nvSpPr>
            <p:cNvPr id="18" name="Rechteck 13"/>
            <p:cNvSpPr/>
            <p:nvPr userDrawn="1"/>
          </p:nvSpPr>
          <p:spPr>
            <a:xfrm rot="16200000">
              <a:off x="5916389" y="-562403"/>
              <a:ext cx="306000" cy="212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de-DE">
                <a:latin typeface="+mn-lt"/>
                <a:sym typeface="FK CARIAD Light" pitchFamily="50" charset="0"/>
              </a:endParaRPr>
            </a:p>
          </p:txBody>
        </p:sp>
        <p:sp>
          <p:nvSpPr>
            <p:cNvPr id="19" name="Rechteck 14"/>
            <p:cNvSpPr/>
            <p:nvPr userDrawn="1"/>
          </p:nvSpPr>
          <p:spPr>
            <a:xfrm rot="10800000">
              <a:off x="5007390" y="593725"/>
              <a:ext cx="306000" cy="50158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de-DE">
                <a:latin typeface="+mn-lt"/>
                <a:sym typeface="FK CARIAD Light" pitchFamily="50" charset="0"/>
              </a:endParaRPr>
            </a:p>
          </p:txBody>
        </p:sp>
        <p:sp>
          <p:nvSpPr>
            <p:cNvPr id="20" name="Rechteck 13"/>
            <p:cNvSpPr/>
            <p:nvPr userDrawn="1"/>
          </p:nvSpPr>
          <p:spPr>
            <a:xfrm rot="16200000">
              <a:off x="5916390" y="4409724"/>
              <a:ext cx="306000" cy="212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>
                <a:spcAft>
                  <a:spcPts val="600"/>
                </a:spcAft>
              </a:pPr>
              <a:endParaRPr lang="de-DE" dirty="0">
                <a:latin typeface="+mn-lt"/>
                <a:sym typeface="FK CARIAD Light" pitchFamily="50" charset="0"/>
              </a:endParaRPr>
            </a:p>
          </p:txBody>
        </p:sp>
      </p:grpSp>
      <p:sp>
        <p:nvSpPr>
          <p:cNvPr id="13" name="Rectangle 12"/>
          <p:cNvSpPr/>
          <p:nvPr userDrawn="1"/>
        </p:nvSpPr>
        <p:spPr>
          <a:xfrm>
            <a:off x="6088783" y="6136005"/>
            <a:ext cx="6103217" cy="7219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800" noProof="0" dirty="0" err="1">
              <a:latin typeface="+mn-lt"/>
              <a:sym typeface="FK CARIAD Light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334962" y="487363"/>
            <a:ext cx="11520000" cy="561786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spcAft>
                <a:spcPts val="600"/>
              </a:spcAft>
              <a:defRPr sz="8000">
                <a:solidFill>
                  <a:schemeClr val="tx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laceholder for statement or quote</a:t>
            </a:r>
          </a:p>
        </p:txBody>
      </p:sp>
      <p:sp>
        <p:nvSpPr>
          <p:cNvPr id="15" name="Datumsplatzhalter 12"/>
          <p:cNvSpPr>
            <a:spLocks noGrp="1"/>
          </p:cNvSpPr>
          <p:nvPr userDrawn="1">
            <p:ph type="dt" sz="half" idx="2"/>
          </p:nvPr>
        </p:nvSpPr>
        <p:spPr>
          <a:xfrm>
            <a:off x="568833" y="6321325"/>
            <a:ext cx="541168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6" name="Fußzeilenplatzhalter 13"/>
          <p:cNvSpPr>
            <a:spLocks noGrp="1"/>
          </p:cNvSpPr>
          <p:nvPr userDrawn="1">
            <p:ph type="ftr" sz="quarter" idx="3"/>
          </p:nvPr>
        </p:nvSpPr>
        <p:spPr>
          <a:xfrm>
            <a:off x="568833" y="6530125"/>
            <a:ext cx="541168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1" name="Foliennummernplatzhalter 14"/>
          <p:cNvSpPr>
            <a:spLocks noGrp="1"/>
          </p:cNvSpPr>
          <p:nvPr userDrawn="1"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CC197ED-96DB-7C1C-17E2-2FC6A8E3DD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7" y="6171080"/>
            <a:ext cx="1428821" cy="7465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7349981-F001-3A53-7CA6-C6C0BDE199F7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tx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4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5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9040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80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pic>
        <p:nvPicPr>
          <p:cNvPr id="16" name="Grafik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1" t="35203" r="40853" b="38426"/>
          <a:stretch/>
        </p:blipFill>
        <p:spPr>
          <a:xfrm>
            <a:off x="3396008" y="845179"/>
            <a:ext cx="3509144" cy="499492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6088783" y="6136005"/>
            <a:ext cx="6103217" cy="7219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800" noProof="0" dirty="0" err="1">
              <a:latin typeface="+mn-lt"/>
              <a:sym typeface="FK CARIAD Light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2" y="487363"/>
            <a:ext cx="11520000" cy="561786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spcAft>
                <a:spcPts val="600"/>
              </a:spcAft>
              <a:defRPr sz="8000">
                <a:solidFill>
                  <a:schemeClr val="tx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laceholder for statement or quote</a:t>
            </a:r>
          </a:p>
        </p:txBody>
      </p:sp>
      <p:sp>
        <p:nvSpPr>
          <p:cNvPr id="11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168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3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1689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tx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8AF8FD2-00EE-DD16-0D70-FB9E1201E6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7" y="6171080"/>
            <a:ext cx="1428821" cy="74655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59AC3F4-D07E-9224-F132-7833893E8618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tx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44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1570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80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8" name="Halbbogen 9"/>
          <p:cNvSpPr/>
          <p:nvPr userDrawn="1"/>
        </p:nvSpPr>
        <p:spPr>
          <a:xfrm rot="10800000">
            <a:off x="3527990" y="122928"/>
            <a:ext cx="5292000" cy="5418000"/>
          </a:xfrm>
          <a:prstGeom prst="blockArc">
            <a:avLst>
              <a:gd name="adj1" fmla="val 10800000"/>
              <a:gd name="adj2" fmla="val 21546050"/>
              <a:gd name="adj3" fmla="val 509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de-DE" sz="1800" noProof="0" dirty="0" err="1">
              <a:solidFill>
                <a:schemeClr val="tx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088783" y="6136005"/>
            <a:ext cx="6103217" cy="7219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800" noProof="0" dirty="0" err="1">
              <a:latin typeface="+mn-lt"/>
              <a:sym typeface="FK CARIAD Light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2" y="487363"/>
            <a:ext cx="11520000" cy="561786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spcAft>
                <a:spcPts val="600"/>
              </a:spcAft>
              <a:defRPr sz="800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laceholder for statement or quote</a:t>
            </a:r>
          </a:p>
        </p:txBody>
      </p:sp>
      <p:sp>
        <p:nvSpPr>
          <p:cNvPr id="12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5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7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42A7EF-6939-2168-CEF7-0C471A7F34A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7" y="6171080"/>
            <a:ext cx="1428821" cy="74655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44A7624-08BF-4A53-5E66-32D587FFC8E7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23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">
    <p:bg>
      <p:bgPr>
        <a:blipFill dpi="0" rotWithShape="1">
          <a:blip r:embed="rId4">
            <a:lum/>
          </a:blip>
          <a:srcRect/>
          <a:tile tx="-374650" ty="-635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1"/>
          <p:cNvSpPr/>
          <p:nvPr userDrawn="1"/>
        </p:nvSpPr>
        <p:spPr>
          <a:xfrm rot="10800000">
            <a:off x="1" y="-2"/>
            <a:ext cx="12192000" cy="6234246"/>
          </a:xfrm>
          <a:prstGeom prst="rect">
            <a:avLst/>
          </a:prstGeom>
          <a:gradFill flip="none" rotWithShape="1">
            <a:gsLst>
              <a:gs pos="100000">
                <a:schemeClr val="tx2">
                  <a:alpha val="0"/>
                </a:schemeClr>
              </a:gs>
              <a:gs pos="0">
                <a:schemeClr val="tx2">
                  <a:alpha val="29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sym typeface="FK CARIAD Light" pitchFamily="50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1311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6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 rot="16200000">
            <a:off x="3361810" y="1992176"/>
            <a:ext cx="5510070" cy="2218913"/>
            <a:chOff x="6599756" y="162986"/>
            <a:chExt cx="5510070" cy="2218913"/>
          </a:xfrm>
        </p:grpSpPr>
        <p:sp>
          <p:nvSpPr>
            <p:cNvPr id="14" name="Rechteck 13"/>
            <p:cNvSpPr/>
            <p:nvPr userDrawn="1"/>
          </p:nvSpPr>
          <p:spPr>
            <a:xfrm>
              <a:off x="11803826" y="162986"/>
              <a:ext cx="306000" cy="219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n-lt"/>
                <a:sym typeface="FK CARIAD Light" pitchFamily="50" charset="0"/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 rot="16200000">
              <a:off x="9201792" y="-2191920"/>
              <a:ext cx="306000" cy="5015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n-lt"/>
                <a:sym typeface="FK CARIAD Light" pitchFamily="50" charset="0"/>
              </a:endParaRPr>
            </a:p>
          </p:txBody>
        </p:sp>
        <p:sp>
          <p:nvSpPr>
            <p:cNvPr id="11" name="Rechteck 13"/>
            <p:cNvSpPr/>
            <p:nvPr userDrawn="1"/>
          </p:nvSpPr>
          <p:spPr>
            <a:xfrm>
              <a:off x="6599756" y="162986"/>
              <a:ext cx="306000" cy="22189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dirty="0">
                <a:latin typeface="+mn-lt"/>
                <a:sym typeface="FK CARIAD Light" pitchFamily="50" charset="0"/>
              </a:endParaRPr>
            </a:p>
          </p:txBody>
        </p:sp>
      </p:grpSp>
      <p:sp>
        <p:nvSpPr>
          <p:cNvPr id="31" name="Textfeld 8"/>
          <p:cNvSpPr txBox="1"/>
          <p:nvPr userDrawn="1"/>
        </p:nvSpPr>
        <p:spPr>
          <a:xfrm>
            <a:off x="98137" y="6286983"/>
            <a:ext cx="5885881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/>
            <a:r>
              <a:rPr lang="en-US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We</a:t>
            </a:r>
            <a:r>
              <a:rPr lang="en-US" baseline="0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 transform automotive mobility</a:t>
            </a:r>
            <a:endParaRPr lang="en-US" noProof="0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487581"/>
            <a:ext cx="11520000" cy="753161"/>
          </a:xfrm>
          <a:prstGeom prst="rect">
            <a:avLst/>
          </a:prstGeom>
        </p:spPr>
        <p:txBody>
          <a:bodyPr anchor="t"/>
          <a:lstStyle>
            <a:lvl1pPr algn="l">
              <a:defRPr sz="6600" baseline="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38" y="1344293"/>
            <a:ext cx="11520000" cy="538782"/>
          </a:xfrm>
          <a:prstGeom prst="rect">
            <a:avLst/>
          </a:prstGeom>
        </p:spPr>
        <p:txBody>
          <a:bodyPr anchor="t"/>
          <a:lstStyle>
            <a:lvl1pPr marL="0" marR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3200" baseline="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Placeholder subtitle | place | date [optional]</a:t>
            </a:r>
          </a:p>
        </p:txBody>
      </p:sp>
    </p:spTree>
    <p:extLst>
      <p:ext uri="{BB962C8B-B14F-4D97-AF65-F5344CB8AC3E}">
        <p14:creationId xmlns:p14="http://schemas.microsoft.com/office/powerpoint/2010/main" val="3330239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115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31" name="Textfeld 8"/>
          <p:cNvSpPr txBox="1"/>
          <p:nvPr userDrawn="1"/>
        </p:nvSpPr>
        <p:spPr>
          <a:xfrm>
            <a:off x="98137" y="6286983"/>
            <a:ext cx="5885881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We</a:t>
            </a:r>
            <a:r>
              <a:rPr lang="en-US" baseline="0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 transform automotive mobility</a:t>
            </a:r>
            <a:endParaRPr lang="en-US" noProof="0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0" name="Halbbogen 9"/>
          <p:cNvSpPr/>
          <p:nvPr userDrawn="1"/>
        </p:nvSpPr>
        <p:spPr>
          <a:xfrm rot="10800000">
            <a:off x="3548712" y="122928"/>
            <a:ext cx="5292000" cy="5418000"/>
          </a:xfrm>
          <a:prstGeom prst="blockArc">
            <a:avLst>
              <a:gd name="adj1" fmla="val 10800000"/>
              <a:gd name="adj2" fmla="val 21546050"/>
              <a:gd name="adj3" fmla="val 509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de-DE" sz="1800" noProof="0" dirty="0" err="1">
              <a:solidFill>
                <a:schemeClr val="tx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32759" y="1335627"/>
            <a:ext cx="3229282" cy="926274"/>
          </a:xfrm>
        </p:spPr>
        <p:txBody>
          <a:bodyPr anchor="t"/>
          <a:lstStyle>
            <a:lvl1pPr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22154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10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4" name="Textfeld 8"/>
          <p:cNvSpPr txBox="1"/>
          <p:nvPr userDrawn="1"/>
        </p:nvSpPr>
        <p:spPr>
          <a:xfrm>
            <a:off x="98138" y="6286983"/>
            <a:ext cx="5888494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We</a:t>
            </a:r>
            <a:r>
              <a:rPr lang="en-US" baseline="0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 transform automotive mobility</a:t>
            </a:r>
            <a:endParaRPr lang="en-US" noProof="0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6" name="Rechteck 10"/>
          <p:cNvSpPr/>
          <p:nvPr userDrawn="1"/>
        </p:nvSpPr>
        <p:spPr>
          <a:xfrm rot="1791105">
            <a:off x="5808271" y="610967"/>
            <a:ext cx="302400" cy="53380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de-DE">
              <a:latin typeface="+mn-lt"/>
              <a:sym typeface="FK CARIAD Light" pitchFamily="50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32759" y="1335627"/>
            <a:ext cx="3229282" cy="926274"/>
          </a:xfrm>
        </p:spPr>
        <p:txBody>
          <a:bodyPr anchor="t"/>
          <a:lstStyle>
            <a:lvl1pPr>
              <a:spcAft>
                <a:spcPts val="600"/>
              </a:spcAft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C439D2-0290-D440-B2FF-F9262A89DCD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7" y="6171080"/>
            <a:ext cx="1428821" cy="74655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94CDC99-BA07-B982-7656-6EDA34E5CD28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3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1114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9" name="Textfeld 8"/>
          <p:cNvSpPr txBox="1"/>
          <p:nvPr userDrawn="1"/>
        </p:nvSpPr>
        <p:spPr>
          <a:xfrm>
            <a:off x="98137" y="6286983"/>
            <a:ext cx="5885881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We</a:t>
            </a:r>
            <a:r>
              <a:rPr lang="en-US" baseline="0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 transform automotive mobility</a:t>
            </a:r>
            <a:endParaRPr lang="en-US" noProof="0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5037087" y="963578"/>
            <a:ext cx="2898694" cy="3581292"/>
            <a:chOff x="5037087" y="963578"/>
            <a:chExt cx="2898694" cy="3581292"/>
          </a:xfrm>
        </p:grpSpPr>
        <p:sp>
          <p:nvSpPr>
            <p:cNvPr id="11" name="Rechteck 14"/>
            <p:cNvSpPr/>
            <p:nvPr userDrawn="1"/>
          </p:nvSpPr>
          <p:spPr>
            <a:xfrm rot="13500000">
              <a:off x="6333434" y="2942523"/>
              <a:ext cx="306000" cy="289869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de-DE">
                <a:latin typeface="+mn-lt"/>
                <a:sym typeface="FK CARIAD Light" pitchFamily="50" charset="0"/>
              </a:endParaRPr>
            </a:p>
          </p:txBody>
        </p:sp>
        <p:sp>
          <p:nvSpPr>
            <p:cNvPr id="13" name="Rechteck 15"/>
            <p:cNvSpPr/>
            <p:nvPr userDrawn="1"/>
          </p:nvSpPr>
          <p:spPr>
            <a:xfrm rot="8100000">
              <a:off x="6357092" y="963578"/>
              <a:ext cx="306000" cy="2995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de-DE">
                <a:latin typeface="+mn-lt"/>
                <a:sym typeface="FK CARIAD Light" pitchFamily="50" charset="0"/>
              </a:endParaRPr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1432759" y="1335627"/>
            <a:ext cx="3229282" cy="926274"/>
          </a:xfrm>
        </p:spPr>
        <p:txBody>
          <a:bodyPr anchor="t"/>
          <a:lstStyle>
            <a:lvl1pPr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3785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bg>
      <p:bgPr>
        <a:blipFill dpi="0" rotWithShape="1">
          <a:blip r:embed="rId4">
            <a:lum/>
          </a:blip>
          <a:srcRect/>
          <a:stretch>
            <a:fillRect t="-9000" b="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70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6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6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8" name="Rectangle 11"/>
          <p:cNvSpPr/>
          <p:nvPr userDrawn="1"/>
        </p:nvSpPr>
        <p:spPr>
          <a:xfrm>
            <a:off x="-2400" y="363"/>
            <a:ext cx="12192000" cy="6197943"/>
          </a:xfrm>
          <a:prstGeom prst="rect">
            <a:avLst/>
          </a:prstGeom>
          <a:gradFill flip="none" rotWithShape="1">
            <a:gsLst>
              <a:gs pos="3763">
                <a:schemeClr val="tx1">
                  <a:alpha val="0"/>
                </a:schemeClr>
              </a:gs>
              <a:gs pos="71000">
                <a:schemeClr val="tx2">
                  <a:alpha val="53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sym typeface="FK CARIAD Light" pitchFamily="50" charset="0"/>
            </a:endParaRPr>
          </a:p>
        </p:txBody>
      </p:sp>
      <p:sp>
        <p:nvSpPr>
          <p:cNvPr id="26" name="Textfeld 8"/>
          <p:cNvSpPr txBox="1"/>
          <p:nvPr userDrawn="1"/>
        </p:nvSpPr>
        <p:spPr>
          <a:xfrm>
            <a:off x="98137" y="6286983"/>
            <a:ext cx="5885881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/>
            <a:r>
              <a:rPr lang="en-US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We</a:t>
            </a:r>
            <a:r>
              <a:rPr lang="en-US" baseline="0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 transform automotive mobility</a:t>
            </a:r>
            <a:endParaRPr lang="en-US" noProof="0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1810808">
            <a:off x="5934681" y="485189"/>
            <a:ext cx="308205" cy="55870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 err="1">
              <a:solidFill>
                <a:schemeClr val="tx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487249"/>
            <a:ext cx="11520000" cy="753161"/>
          </a:xfrm>
          <a:prstGeom prst="rect">
            <a:avLst/>
          </a:prstGeom>
        </p:spPr>
        <p:txBody>
          <a:bodyPr anchor="t"/>
          <a:lstStyle>
            <a:lvl1pPr algn="l">
              <a:defRPr sz="6600" baseline="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38" y="1344293"/>
            <a:ext cx="11520000" cy="538782"/>
          </a:xfrm>
          <a:prstGeom prst="rect">
            <a:avLst/>
          </a:prstGeom>
        </p:spPr>
        <p:txBody>
          <a:bodyPr anchor="t"/>
          <a:lstStyle>
            <a:lvl1pPr marL="0" marR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3200" baseline="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Placeholder subtitle | place | date [optional]</a:t>
            </a:r>
          </a:p>
        </p:txBody>
      </p:sp>
    </p:spTree>
    <p:extLst>
      <p:ext uri="{BB962C8B-B14F-4D97-AF65-F5344CB8AC3E}">
        <p14:creationId xmlns:p14="http://schemas.microsoft.com/office/powerpoint/2010/main" val="209308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bg>
      <p:bgPr>
        <a:blipFill dpi="0" rotWithShape="1">
          <a:blip r:embed="rId4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063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6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4" name="Rectangle 11"/>
          <p:cNvSpPr/>
          <p:nvPr userDrawn="1"/>
        </p:nvSpPr>
        <p:spPr>
          <a:xfrm>
            <a:off x="-2400" y="11793"/>
            <a:ext cx="12192000" cy="6197943"/>
          </a:xfrm>
          <a:prstGeom prst="rect">
            <a:avLst/>
          </a:prstGeom>
          <a:gradFill flip="none" rotWithShape="1">
            <a:gsLst>
              <a:gs pos="3763">
                <a:schemeClr val="tx1">
                  <a:alpha val="0"/>
                </a:schemeClr>
              </a:gs>
              <a:gs pos="71000">
                <a:schemeClr val="tx1">
                  <a:alpha val="4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sym typeface="FK CARIAD Light" pitchFamily="50" charset="0"/>
            </a:endParaRPr>
          </a:p>
        </p:txBody>
      </p:sp>
      <p:sp>
        <p:nvSpPr>
          <p:cNvPr id="10" name="Halbbogen 9"/>
          <p:cNvSpPr/>
          <p:nvPr userDrawn="1"/>
        </p:nvSpPr>
        <p:spPr>
          <a:xfrm rot="10800000">
            <a:off x="3318933" y="-105328"/>
            <a:ext cx="5503858" cy="5540928"/>
          </a:xfrm>
          <a:prstGeom prst="blockArc">
            <a:avLst>
              <a:gd name="adj1" fmla="val 10800000"/>
              <a:gd name="adj2" fmla="val 21546050"/>
              <a:gd name="adj3" fmla="val 509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00" noProof="0" dirty="0" err="1">
              <a:solidFill>
                <a:schemeClr val="tx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487249"/>
            <a:ext cx="11520000" cy="753161"/>
          </a:xfrm>
          <a:prstGeom prst="rect">
            <a:avLst/>
          </a:prstGeom>
        </p:spPr>
        <p:txBody>
          <a:bodyPr anchor="t"/>
          <a:lstStyle>
            <a:lvl1pPr algn="l">
              <a:defRPr sz="6600" baseline="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27" name="Textfeld 8"/>
          <p:cNvSpPr txBox="1"/>
          <p:nvPr userDrawn="1"/>
        </p:nvSpPr>
        <p:spPr>
          <a:xfrm>
            <a:off x="98138" y="6286983"/>
            <a:ext cx="5888494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/>
            <a:r>
              <a:rPr lang="en-US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We</a:t>
            </a:r>
            <a:r>
              <a:rPr lang="en-US" baseline="0" noProof="0" dirty="0">
                <a:solidFill>
                  <a:schemeClr val="bg1"/>
                </a:solidFill>
                <a:latin typeface="+mn-lt"/>
                <a:sym typeface="FK CARIAD Light" pitchFamily="50" charset="0"/>
              </a:rPr>
              <a:t> transform automotive mobility</a:t>
            </a:r>
            <a:endParaRPr lang="en-US" noProof="0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7038" y="1344293"/>
            <a:ext cx="11520000" cy="538782"/>
          </a:xfrm>
          <a:prstGeom prst="rect">
            <a:avLst/>
          </a:prstGeom>
        </p:spPr>
        <p:txBody>
          <a:bodyPr anchor="t"/>
          <a:lstStyle>
            <a:lvl1pPr marL="0" marR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3200" baseline="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360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Placeholder subtitle | place | date [optional]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852622-D2DD-0669-1C88-052299F354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5" name="TextBox 8">
            <a:extLst>
              <a:ext uri="{FF2B5EF4-FFF2-40B4-BE49-F238E27FC236}">
                <a16:creationId xmlns:a16="http://schemas.microsoft.com/office/drawing/2014/main" id="{D0CCA043-ABAC-AAB8-5D4E-4381009D8A10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3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5841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23756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9" name="Titel 15"/>
          <p:cNvSpPr>
            <a:spLocks noGrp="1"/>
          </p:cNvSpPr>
          <p:nvPr>
            <p:ph type="title" hasCustomPrompt="1"/>
          </p:nvPr>
        </p:nvSpPr>
        <p:spPr>
          <a:xfrm>
            <a:off x="335999" y="488549"/>
            <a:ext cx="11520000" cy="717250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3600" baseline="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Agenda</a:t>
            </a:r>
          </a:p>
        </p:txBody>
      </p:sp>
      <p:sp>
        <p:nvSpPr>
          <p:cNvPr id="10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3" y="6321325"/>
            <a:ext cx="5415186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1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2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36550" y="1212785"/>
            <a:ext cx="11518900" cy="462534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905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44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-1429" y="6234244"/>
            <a:ext cx="6087600" cy="62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6086170" y="6234244"/>
            <a:ext cx="6105829" cy="626400"/>
          </a:xfrm>
          <a:prstGeom prst="rect">
            <a:avLst/>
          </a:prstGeom>
          <a:solidFill>
            <a:srgbClr val="1D0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24" name="Titel 15"/>
          <p:cNvSpPr>
            <a:spLocks noGrp="1"/>
          </p:cNvSpPr>
          <p:nvPr>
            <p:ph type="title" hasCustomPrompt="1"/>
          </p:nvPr>
        </p:nvSpPr>
        <p:spPr>
          <a:xfrm>
            <a:off x="336000" y="490220"/>
            <a:ext cx="11520000" cy="717250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3600" baseline="0">
                <a:solidFill>
                  <a:schemeClr val="tx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Agenda</a:t>
            </a:r>
          </a:p>
        </p:txBody>
      </p:sp>
      <p:sp>
        <p:nvSpPr>
          <p:cNvPr id="18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2" y="6321325"/>
            <a:ext cx="5417799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9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7798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20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 hasCustomPrompt="1"/>
          </p:nvPr>
        </p:nvSpPr>
        <p:spPr>
          <a:xfrm>
            <a:off x="334963" y="1207470"/>
            <a:ext cx="11520487" cy="46313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DE439C1-3F41-FE35-FD1A-6BE91C0A95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3"/>
          </a:xfrm>
          <a:prstGeom prst="rect">
            <a:avLst/>
          </a:prstGeom>
        </p:spPr>
      </p:pic>
      <p:sp>
        <p:nvSpPr>
          <p:cNvPr id="7" name="TextBox 8">
            <a:extLst>
              <a:ext uri="{FF2B5EF4-FFF2-40B4-BE49-F238E27FC236}">
                <a16:creationId xmlns:a16="http://schemas.microsoft.com/office/drawing/2014/main" id="{924CE357-F848-4FD0-5221-99D658D81BA9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06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883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28AF248-5D60-DF4F-BB68-76B45144932A}"/>
              </a:ext>
            </a:extLst>
          </p:cNvPr>
          <p:cNvSpPr/>
          <p:nvPr userDrawn="1"/>
        </p:nvSpPr>
        <p:spPr>
          <a:xfrm>
            <a:off x="0" y="6234244"/>
            <a:ext cx="6088783" cy="6303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endParaRPr lang="fr-DE" dirty="0">
              <a:solidFill>
                <a:schemeClr val="bg1"/>
              </a:solidFill>
              <a:latin typeface="+mn-lt"/>
              <a:sym typeface="FK CARIAD Light" pitchFamily="50" charset="0"/>
            </a:endParaRPr>
          </a:p>
        </p:txBody>
      </p:sp>
      <p:sp>
        <p:nvSpPr>
          <p:cNvPr id="34" name="Titel 15"/>
          <p:cNvSpPr>
            <a:spLocks noGrp="1"/>
          </p:cNvSpPr>
          <p:nvPr>
            <p:ph type="title" hasCustomPrompt="1"/>
          </p:nvPr>
        </p:nvSpPr>
        <p:spPr>
          <a:xfrm>
            <a:off x="335999" y="488315"/>
            <a:ext cx="11520000" cy="717250"/>
          </a:xfrm>
        </p:spPr>
        <p:txBody>
          <a:bodyPr anchor="t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3600" baseline="0">
                <a:solidFill>
                  <a:schemeClr val="bg1"/>
                </a:solidFill>
                <a:latin typeface="+mj-lt"/>
                <a:sym typeface="FK CARIAD Light" pitchFamily="50" charset="0"/>
              </a:defRPr>
            </a:lvl1pPr>
          </a:lstStyle>
          <a:p>
            <a:r>
              <a:rPr lang="en-US" noProof="0" dirty="0"/>
              <a:t>Agenda</a:t>
            </a:r>
          </a:p>
        </p:txBody>
      </p:sp>
      <p:sp>
        <p:nvSpPr>
          <p:cNvPr id="10" name="Datumsplatzhalter 12"/>
          <p:cNvSpPr>
            <a:spLocks noGrp="1"/>
          </p:cNvSpPr>
          <p:nvPr>
            <p:ph type="dt" sz="half" idx="2"/>
          </p:nvPr>
        </p:nvSpPr>
        <p:spPr>
          <a:xfrm>
            <a:off x="568832" y="6321325"/>
            <a:ext cx="5415187" cy="208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600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de-DE"/>
              <a:t>February 11th, 2021 | Location | Responsible (Dept.) | Status</a:t>
            </a:r>
            <a:endParaRPr lang="en-US" dirty="0"/>
          </a:p>
        </p:txBody>
      </p:sp>
      <p:sp>
        <p:nvSpPr>
          <p:cNvPr id="15" name="Fußzeilenplatzhalter 13"/>
          <p:cNvSpPr>
            <a:spLocks noGrp="1"/>
          </p:cNvSpPr>
          <p:nvPr>
            <p:ph type="ftr" sz="quarter" idx="3"/>
          </p:nvPr>
        </p:nvSpPr>
        <p:spPr>
          <a:xfrm>
            <a:off x="568833" y="6530125"/>
            <a:ext cx="5415186" cy="208800"/>
          </a:xfrm>
          <a:prstGeom prst="rect">
            <a:avLst/>
          </a:prstGeom>
        </p:spPr>
        <p:txBody>
          <a:bodyPr vert="horz" lIns="91440" tIns="46800" rIns="91440" bIns="46800" rtlCol="0" anchor="b">
            <a:noAutofit/>
          </a:bodyPr>
          <a:lstStyle>
            <a:lvl1pPr algn="l" defTabSz="360000" rtl="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16" name="Foliennummernplatzhalter 14"/>
          <p:cNvSpPr>
            <a:spLocks noGrp="1"/>
          </p:cNvSpPr>
          <p:nvPr>
            <p:ph type="sldNum" sz="quarter" idx="4"/>
          </p:nvPr>
        </p:nvSpPr>
        <p:spPr>
          <a:xfrm>
            <a:off x="123888" y="6321325"/>
            <a:ext cx="424223" cy="4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3600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  <a:sym typeface="FK CARIAD Light" pitchFamily="50" charset="0"/>
              </a:defRPr>
            </a:lvl1pPr>
          </a:lstStyle>
          <a:p>
            <a:fld id="{1A672BC3-475D-4374-8EEC-4CFA9934D3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 hasCustomPrompt="1"/>
          </p:nvPr>
        </p:nvSpPr>
        <p:spPr>
          <a:xfrm>
            <a:off x="336550" y="1205565"/>
            <a:ext cx="11518900" cy="463326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  <a:p>
            <a:pPr lvl="0"/>
            <a:r>
              <a:rPr lang="de-DE" dirty="0"/>
              <a:t>// </a:t>
            </a:r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poi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3874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478913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6" imgW="395" imgH="394" progId="TCLayout.ActiveDocument.1">
                  <p:embed/>
                </p:oleObj>
              </mc:Choice>
              <mc:Fallback>
                <p:oleObj name="think-cell Folie" r:id="rId46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noProof="0" dirty="0" err="1">
              <a:latin typeface="FK CARIAD Light" pitchFamily="50" charset="0"/>
              <a:ea typeface="+mj-ea"/>
              <a:cs typeface="+mj-cs"/>
              <a:sym typeface="FK CARIAD Light" pitchFamily="50" charset="0"/>
            </a:endParaRPr>
          </a:p>
        </p:txBody>
      </p:sp>
      <p:sp>
        <p:nvSpPr>
          <p:cNvPr id="11" name="Titelplatzhalter 10"/>
          <p:cNvSpPr>
            <a:spLocks noGrp="1"/>
          </p:cNvSpPr>
          <p:nvPr>
            <p:ph type="title"/>
          </p:nvPr>
        </p:nvSpPr>
        <p:spPr>
          <a:xfrm>
            <a:off x="336000" y="487363"/>
            <a:ext cx="11520000" cy="45561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336000" y="1212784"/>
            <a:ext cx="11520000" cy="4892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0E8F6F8-49B1-5047-BA9A-19AC9B45E97F}"/>
              </a:ext>
            </a:extLst>
          </p:cNvPr>
          <p:cNvSpPr/>
          <p:nvPr userDrawn="1"/>
        </p:nvSpPr>
        <p:spPr>
          <a:xfrm>
            <a:off x="6088782" y="6234244"/>
            <a:ext cx="6103217" cy="624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DE" dirty="0">
                <a:latin typeface="+mn-lt"/>
                <a:sym typeface="FK CARIAD Light" pitchFamily="50" charset="0"/>
              </a:rPr>
              <a:t>  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3DE6FEF-01DE-4DC0-DC40-4A3C155EEE29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7176" y="6171080"/>
            <a:ext cx="1428823" cy="746554"/>
          </a:xfrm>
          <a:prstGeom prst="rect">
            <a:avLst/>
          </a:prstGeom>
        </p:spPr>
      </p:pic>
      <p:sp>
        <p:nvSpPr>
          <p:cNvPr id="14" name="TextBox 8">
            <a:extLst>
              <a:ext uri="{FF2B5EF4-FFF2-40B4-BE49-F238E27FC236}">
                <a16:creationId xmlns:a16="http://schemas.microsoft.com/office/drawing/2014/main" id="{5017CFBA-A31E-B745-9E28-1422DDB42C42}"/>
              </a:ext>
            </a:extLst>
          </p:cNvPr>
          <p:cNvSpPr txBox="1"/>
          <p:nvPr userDrawn="1"/>
        </p:nvSpPr>
        <p:spPr>
          <a:xfrm>
            <a:off x="6245687" y="6338807"/>
            <a:ext cx="27492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tx1"/>
                </a:solidFill>
              </a:rPr>
              <a:t>CARIAD® is a trademark of CARIAD SE licensed to Embitel Technologies India Pvt. Ltd.</a:t>
            </a:r>
            <a:endParaRPr lang="en-IN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703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61" r:id="rId2"/>
    <p:sldLayoutId id="2147483680" r:id="rId3"/>
    <p:sldLayoutId id="2147483673" r:id="rId4"/>
    <p:sldLayoutId id="2147483676" r:id="rId5"/>
    <p:sldLayoutId id="2147483674" r:id="rId6"/>
    <p:sldLayoutId id="2147483729" r:id="rId7"/>
    <p:sldLayoutId id="2147483684" r:id="rId8"/>
    <p:sldLayoutId id="2147483730" r:id="rId9"/>
    <p:sldLayoutId id="2147483691" r:id="rId10"/>
    <p:sldLayoutId id="2147483687" r:id="rId11"/>
    <p:sldLayoutId id="2147483690" r:id="rId12"/>
    <p:sldLayoutId id="2147483701" r:id="rId13"/>
    <p:sldLayoutId id="2147483662" r:id="rId14"/>
    <p:sldLayoutId id="2147483702" r:id="rId15"/>
    <p:sldLayoutId id="2147483703" r:id="rId16"/>
    <p:sldLayoutId id="2147483664" r:id="rId17"/>
    <p:sldLayoutId id="2147483704" r:id="rId18"/>
    <p:sldLayoutId id="2147483706" r:id="rId19"/>
    <p:sldLayoutId id="2147483705" r:id="rId20"/>
    <p:sldLayoutId id="2147483707" r:id="rId21"/>
    <p:sldLayoutId id="2147483708" r:id="rId22"/>
    <p:sldLayoutId id="2147483669" r:id="rId23"/>
    <p:sldLayoutId id="2147483709" r:id="rId24"/>
    <p:sldLayoutId id="2147483711" r:id="rId25"/>
    <p:sldLayoutId id="2147483710" r:id="rId26"/>
    <p:sldLayoutId id="2147483712" r:id="rId27"/>
    <p:sldLayoutId id="2147483717" r:id="rId28"/>
    <p:sldLayoutId id="2147483666" r:id="rId29"/>
    <p:sldLayoutId id="2147483718" r:id="rId30"/>
    <p:sldLayoutId id="2147483719" r:id="rId31"/>
    <p:sldLayoutId id="2147483667" r:id="rId32"/>
    <p:sldLayoutId id="2147483720" r:id="rId33"/>
    <p:sldLayoutId id="2147483693" r:id="rId34"/>
    <p:sldLayoutId id="2147483695" r:id="rId35"/>
    <p:sldLayoutId id="2147483696" r:id="rId36"/>
    <p:sldLayoutId id="2147483697" r:id="rId37"/>
    <p:sldLayoutId id="2147483698" r:id="rId38"/>
    <p:sldLayoutId id="2147483694" r:id="rId39"/>
    <p:sldLayoutId id="2147483731" r:id="rId40"/>
    <p:sldLayoutId id="2147483732" r:id="rId41"/>
    <p:sldLayoutId id="2147483733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3600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None/>
        <a:defRPr sz="3600" kern="1200">
          <a:solidFill>
            <a:schemeClr val="tx1"/>
          </a:solidFill>
          <a:latin typeface="+mj-lt"/>
          <a:ea typeface="+mj-ea"/>
          <a:cs typeface="+mj-cs"/>
          <a:sym typeface="FK CARIAD Light" pitchFamily="50" charset="0"/>
        </a:defRPr>
      </a:lvl1pPr>
    </p:titleStyle>
    <p:bodyStyle>
      <a:lvl1pPr marL="228600" indent="-228600" algn="l" defTabSz="36036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800" kern="1200">
          <a:solidFill>
            <a:schemeClr val="tx1"/>
          </a:solidFill>
          <a:latin typeface="+mn-lt"/>
          <a:ea typeface="+mn-ea"/>
          <a:cs typeface="+mn-cs"/>
          <a:sym typeface="FK CARIAD Light" pitchFamily="50" charset="0"/>
        </a:defRPr>
      </a:lvl1pPr>
      <a:lvl2pPr marL="685800" indent="-228600" algn="l" defTabSz="36036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800" kern="1200">
          <a:solidFill>
            <a:schemeClr val="tx1"/>
          </a:solidFill>
          <a:latin typeface="+mn-lt"/>
          <a:ea typeface="+mn-ea"/>
          <a:cs typeface="+mn-cs"/>
          <a:sym typeface="FK CARIAD Light" pitchFamily="50" charset="0"/>
        </a:defRPr>
      </a:lvl2pPr>
      <a:lvl3pPr marL="1143000" indent="-228600" algn="l" defTabSz="36036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800" kern="1200">
          <a:solidFill>
            <a:schemeClr val="tx1"/>
          </a:solidFill>
          <a:latin typeface="+mn-lt"/>
          <a:ea typeface="+mn-ea"/>
          <a:cs typeface="+mn-cs"/>
          <a:sym typeface="FK CARIAD Light" pitchFamily="50" charset="0"/>
        </a:defRPr>
      </a:lvl3pPr>
      <a:lvl4pPr marL="1600200" indent="-228600" algn="l" defTabSz="36036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800" kern="1200">
          <a:solidFill>
            <a:schemeClr val="tx1"/>
          </a:solidFill>
          <a:latin typeface="+mn-lt"/>
          <a:ea typeface="+mn-ea"/>
          <a:cs typeface="+mn-cs"/>
          <a:sym typeface="FK CARIAD Light" pitchFamily="50" charset="0"/>
        </a:defRPr>
      </a:lvl4pPr>
      <a:lvl5pPr marL="2057400" indent="-228600" algn="l" defTabSz="36036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800" kern="1200">
          <a:solidFill>
            <a:schemeClr val="tx1"/>
          </a:solidFill>
          <a:latin typeface="+mn-lt"/>
          <a:ea typeface="+mn-ea"/>
          <a:cs typeface="+mn-cs"/>
          <a:sym typeface="FK CARIAD Light" pitchFamily="50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866">
          <p15:clr>
            <a:srgbClr val="F26B43"/>
          </p15:clr>
        </p15:guide>
        <p15:guide id="6" orient="horz" pos="78">
          <p15:clr>
            <a:srgbClr val="F26B43"/>
          </p15:clr>
        </p15:guide>
        <p15:guide id="7" pos="2026">
          <p15:clr>
            <a:srgbClr val="F26B43"/>
          </p15:clr>
        </p15:guide>
        <p15:guide id="8" pos="5654">
          <p15:clr>
            <a:srgbClr val="F26B43"/>
          </p15:clr>
        </p15:guide>
        <p15:guide id="9" orient="horz" pos="2435">
          <p15:clr>
            <a:srgbClr val="F26B43"/>
          </p15:clr>
        </p15:guide>
        <p15:guide id="10" orient="horz" pos="42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529388"/>
            <a:ext cx="5418138" cy="2095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INTERNAL / CONFIDENTIAL / SECRET | CSD class: 2.5 – max. 15 years [please adapt]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321425"/>
            <a:ext cx="423863" cy="417513"/>
          </a:xfrm>
          <a:prstGeom prst="rect">
            <a:avLst/>
          </a:prstGeom>
        </p:spPr>
        <p:txBody>
          <a:bodyPr/>
          <a:lstStyle/>
          <a:p>
            <a:fld id="{1A672BC3-475D-4374-8EEC-4CFA9934D31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ECB5CA-3316-234A-79EE-67F448808899}"/>
              </a:ext>
            </a:extLst>
          </p:cNvPr>
          <p:cNvSpPr txBox="1"/>
          <p:nvPr/>
        </p:nvSpPr>
        <p:spPr>
          <a:xfrm>
            <a:off x="924128" y="981334"/>
            <a:ext cx="2957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AIS071-Part-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B44F63-020F-8A0B-C6C9-F52ADD37F727}"/>
              </a:ext>
            </a:extLst>
          </p:cNvPr>
          <p:cNvSpPr txBox="1"/>
          <p:nvPr/>
        </p:nvSpPr>
        <p:spPr>
          <a:xfrm>
            <a:off x="8625191" y="977630"/>
            <a:ext cx="2957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/>
              <a:t>AIS071-Part-2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C82A7238-33CE-89A5-61C8-B337BA41E9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2978856"/>
            <a:ext cx="11520000" cy="753161"/>
          </a:xfrm>
        </p:spPr>
        <p:txBody>
          <a:bodyPr>
            <a:normAutofit fontScale="90000"/>
          </a:bodyPr>
          <a:lstStyle/>
          <a:p>
            <a:r>
              <a:rPr lang="en-IN" dirty="0"/>
              <a:t>C++ Functions</a:t>
            </a:r>
          </a:p>
        </p:txBody>
      </p:sp>
    </p:spTree>
    <p:extLst>
      <p:ext uri="{BB962C8B-B14F-4D97-AF65-F5344CB8AC3E}">
        <p14:creationId xmlns:p14="http://schemas.microsoft.com/office/powerpoint/2010/main" val="28146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7B06F04-A619-678F-A433-64FBFC0D0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i="0" dirty="0">
                <a:effectLst/>
                <a:latin typeface="Segoe UI" panose="020B0502040204020203" pitchFamily="34" charset="0"/>
              </a:rPr>
              <a:t>Functions</a:t>
            </a:r>
            <a:endParaRPr lang="en-IN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315042-C922-7964-16C8-35704D66AEF2}"/>
              </a:ext>
            </a:extLst>
          </p:cNvPr>
          <p:cNvSpPr txBox="1"/>
          <p:nvPr/>
        </p:nvSpPr>
        <p:spPr>
          <a:xfrm>
            <a:off x="671805" y="1420196"/>
            <a:ext cx="1031965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What is a Function?</a:t>
            </a:r>
          </a:p>
          <a:p>
            <a:r>
              <a:rPr lang="en-US" dirty="0">
                <a:solidFill>
                  <a:schemeClr val="bg1"/>
                </a:solidFill>
              </a:rPr>
              <a:t>A function is a block of code designed to perform a specific task. It runs only when called, and you can pass data to it using parameters. Functions help make code more modular and easier to manage.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bg1"/>
                </a:solidFill>
              </a:rPr>
              <a:t>Types of Func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re-defined Functions: These are built into C++, like main(), which is the entry point of any C++ progr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ser-defined Functions: These are created by programmers to perform specific tas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bg1"/>
                </a:solidFill>
              </a:rPr>
              <a:t>Basic Structure of a Function:</a:t>
            </a:r>
          </a:p>
          <a:p>
            <a:r>
              <a:rPr lang="en-US" i="1" dirty="0" err="1">
                <a:solidFill>
                  <a:schemeClr val="bg1"/>
                </a:solidFill>
              </a:rPr>
              <a:t>return_type</a:t>
            </a:r>
            <a:r>
              <a:rPr lang="en-US" i="1" dirty="0">
                <a:solidFill>
                  <a:schemeClr val="bg1"/>
                </a:solidFill>
              </a:rPr>
              <a:t> </a:t>
            </a:r>
            <a:r>
              <a:rPr lang="en-US" i="1" dirty="0" err="1">
                <a:solidFill>
                  <a:schemeClr val="bg1"/>
                </a:solidFill>
              </a:rPr>
              <a:t>function_name</a:t>
            </a:r>
            <a:r>
              <a:rPr lang="en-US" i="1" dirty="0">
                <a:solidFill>
                  <a:schemeClr val="bg1"/>
                </a:solidFill>
              </a:rPr>
              <a:t>(parameters) {</a:t>
            </a:r>
          </a:p>
          <a:p>
            <a:r>
              <a:rPr lang="en-US" i="1" dirty="0">
                <a:solidFill>
                  <a:schemeClr val="bg1"/>
                </a:solidFill>
              </a:rPr>
              <a:t>    // function body</a:t>
            </a:r>
          </a:p>
          <a:p>
            <a:r>
              <a:rPr lang="en-US" i="1" dirty="0">
                <a:solidFill>
                  <a:schemeClr val="bg1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91555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587FD3-8B45-581A-488B-4CF54C2E51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8CE266-D021-A1AB-61AC-A9D82027B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i="0" dirty="0">
                <a:effectLst/>
                <a:latin typeface="Segoe UI" panose="020B0502040204020203" pitchFamily="34" charset="0"/>
              </a:rPr>
              <a:t>Functions</a:t>
            </a:r>
            <a:endParaRPr lang="en-I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AA3B83-E7F6-9D7E-F71B-AB72D2C46654}"/>
              </a:ext>
            </a:extLst>
          </p:cNvPr>
          <p:cNvSpPr txBox="1"/>
          <p:nvPr/>
        </p:nvSpPr>
        <p:spPr>
          <a:xfrm>
            <a:off x="671805" y="1420196"/>
            <a:ext cx="1031965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ass by value:</a:t>
            </a:r>
          </a:p>
          <a:p>
            <a:r>
              <a:rPr lang="en-US" dirty="0">
                <a:solidFill>
                  <a:schemeClr val="bg1"/>
                </a:solidFill>
              </a:rPr>
              <a:t>When you pass a parameter by value, a copy of the actual parameter's value is made in memory. Changes made to the parameter inside the function do not affect the original value.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bg1"/>
                </a:solidFill>
              </a:rPr>
              <a:t>Pass by Reference:</a:t>
            </a:r>
          </a:p>
          <a:p>
            <a:r>
              <a:rPr lang="en-US" dirty="0">
                <a:solidFill>
                  <a:schemeClr val="bg1"/>
                </a:solidFill>
              </a:rPr>
              <a:t>When you pass a parameter by reference, the function operates on the actual parameter used in the call. Changes made to the parameter inside the function affect the original value.</a:t>
            </a:r>
          </a:p>
        </p:txBody>
      </p:sp>
    </p:spTree>
    <p:extLst>
      <p:ext uri="{BB962C8B-B14F-4D97-AF65-F5344CB8AC3E}">
        <p14:creationId xmlns:p14="http://schemas.microsoft.com/office/powerpoint/2010/main" val="15027496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53777C-3E57-39B4-09FA-0473D2492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D67A68-21BC-0335-1F90-D54C0C3CB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i="0" dirty="0">
                <a:effectLst/>
                <a:latin typeface="Segoe UI" panose="020B0502040204020203" pitchFamily="34" charset="0"/>
              </a:rPr>
              <a:t>Practice</a:t>
            </a:r>
            <a:endParaRPr lang="en-I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FF226D-B7B8-BBB7-F99B-DFCA9AABCA06}"/>
              </a:ext>
            </a:extLst>
          </p:cNvPr>
          <p:cNvSpPr txBox="1"/>
          <p:nvPr/>
        </p:nvSpPr>
        <p:spPr>
          <a:xfrm>
            <a:off x="671805" y="1420196"/>
            <a:ext cx="1031965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wapping Values Using Pass by Reference</a:t>
            </a:r>
          </a:p>
          <a:p>
            <a:r>
              <a:rPr lang="en-US" dirty="0">
                <a:solidFill>
                  <a:schemeClr val="bg1"/>
                </a:solidFill>
              </a:rPr>
              <a:t>Write a function void swap(int &amp;a, int &amp;b) that swaps the values of two integers. Use this function in main() to swap the values of two variables and print them before and after the swap.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um of </a:t>
            </a:r>
            <a:r>
              <a:rPr lang="en-US">
                <a:solidFill>
                  <a:schemeClr val="bg1"/>
                </a:solidFill>
              </a:rPr>
              <a:t>Array Elements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Write a function int </a:t>
            </a:r>
            <a:r>
              <a:rPr lang="en-US" dirty="0" err="1">
                <a:solidFill>
                  <a:schemeClr val="bg1"/>
                </a:solidFill>
              </a:rPr>
              <a:t>sumArray</a:t>
            </a:r>
            <a:r>
              <a:rPr lang="en-US" dirty="0">
                <a:solidFill>
                  <a:schemeClr val="bg1"/>
                </a:solidFill>
              </a:rPr>
              <a:t>(int </a:t>
            </a:r>
            <a:r>
              <a:rPr lang="en-US" dirty="0" err="1">
                <a:solidFill>
                  <a:schemeClr val="bg1"/>
                </a:solidFill>
              </a:rPr>
              <a:t>arr</a:t>
            </a:r>
            <a:r>
              <a:rPr lang="en-US" dirty="0">
                <a:solidFill>
                  <a:schemeClr val="bg1"/>
                </a:solidFill>
              </a:rPr>
              <a:t>[], int size) that returns the sum of all elements in an array. Use this function in main() to calculate and print the sum of elements in an array.</a:t>
            </a:r>
          </a:p>
        </p:txBody>
      </p:sp>
    </p:spTree>
    <p:extLst>
      <p:ext uri="{BB962C8B-B14F-4D97-AF65-F5344CB8AC3E}">
        <p14:creationId xmlns:p14="http://schemas.microsoft.com/office/powerpoint/2010/main" val="482161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DBE728-41E2-AFB6-B285-E4C7408A7B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72BC3-475D-4374-8EEC-4CFA9934D31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054101F-85FE-41D4-98B0-AF25209C0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2478088"/>
            <a:ext cx="11520000" cy="455612"/>
          </a:xfrm>
        </p:spPr>
        <p:txBody>
          <a:bodyPr>
            <a:noAutofit/>
          </a:bodyPr>
          <a:lstStyle/>
          <a:p>
            <a:pPr algn="ctr"/>
            <a:r>
              <a:rPr lang="en-IN" sz="6000" dirty="0"/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288074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QXrteg0zgFoHVik0h3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FL4w7zNfyyoI_sH61s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xUjw9bsppmCW3gbj78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dxF4DHDBQDDFh01x.4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5lCINg.hn6Z4y2PCtz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m5gaHlu96yTy4EfXVD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r5AgunFEC4oXfqZbtH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mW9iJWilnYxKQFNKq7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bSYWE8fGNFvqc.jcnf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s14BrPp2z0sxmZaG3LM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rtETvFz4VkL8IncLe9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w9PTqqsEAjw1Q2OZx6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8650CEzvZDngRBUZubNA"/>
</p:tagLst>
</file>

<file path=ppt/theme/theme1.xml><?xml version="1.0" encoding="utf-8"?>
<a:theme xmlns:a="http://schemas.openxmlformats.org/drawingml/2006/main" name="CARIAD">
  <a:themeElements>
    <a:clrScheme name="CARIAD Colors">
      <a:dk1>
        <a:srgbClr val="1D0638"/>
      </a:dk1>
      <a:lt1>
        <a:srgbClr val="FFFFFF"/>
      </a:lt1>
      <a:dk2>
        <a:srgbClr val="373741"/>
      </a:dk2>
      <a:lt2>
        <a:srgbClr val="CDCDD2"/>
      </a:lt2>
      <a:accent1>
        <a:srgbClr val="442EE0"/>
      </a:accent1>
      <a:accent2>
        <a:srgbClr val="1EEF97"/>
      </a:accent2>
      <a:accent3>
        <a:srgbClr val="FEF04A"/>
      </a:accent3>
      <a:accent4>
        <a:srgbClr val="1D0638"/>
      </a:accent4>
      <a:accent5>
        <a:srgbClr val="EE4C40"/>
      </a:accent5>
      <a:accent6>
        <a:srgbClr val="442EE0"/>
      </a:accent6>
      <a:hlink>
        <a:srgbClr val="1EEF97"/>
      </a:hlink>
      <a:folHlink>
        <a:srgbClr val="1EEF97"/>
      </a:folHlink>
    </a:clrScheme>
    <a:fontScheme name="CARIAD Fonts">
      <a:majorFont>
        <a:latin typeface="FK CARIAD Light"/>
        <a:ea typeface=""/>
        <a:cs typeface=""/>
      </a:majorFont>
      <a:minorFont>
        <a:latin typeface="FK CARIA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400" noProof="0" dirty="0" smtClean="0">
            <a:solidFill>
              <a:schemeClr val="bg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857EB5B6-21B0-4D3E-865D-E958B125B799}" vid="{1D75B7D8-8AD6-45BE-8E84-9644D6B7D563}"/>
    </a:ext>
  </a:extLst>
</a:theme>
</file>

<file path=ppt/theme/theme2.xml><?xml version="1.0" encoding="utf-8"?>
<a:theme xmlns:a="http://schemas.openxmlformats.org/drawingml/2006/main" name="Office">
  <a:themeElements>
    <a:clrScheme name="CARIAD Colors">
      <a:dk1>
        <a:srgbClr val="1D0638"/>
      </a:dk1>
      <a:lt1>
        <a:srgbClr val="FFFFFF"/>
      </a:lt1>
      <a:dk2>
        <a:srgbClr val="373741"/>
      </a:dk2>
      <a:lt2>
        <a:srgbClr val="CDCDD2"/>
      </a:lt2>
      <a:accent1>
        <a:srgbClr val="442EE0"/>
      </a:accent1>
      <a:accent2>
        <a:srgbClr val="1EEF97"/>
      </a:accent2>
      <a:accent3>
        <a:srgbClr val="FEF04A"/>
      </a:accent3>
      <a:accent4>
        <a:srgbClr val="1D0638"/>
      </a:accent4>
      <a:accent5>
        <a:srgbClr val="EE4C40"/>
      </a:accent5>
      <a:accent6>
        <a:srgbClr val="1EEF97"/>
      </a:accent6>
      <a:hlink>
        <a:srgbClr val="1D0638"/>
      </a:hlink>
      <a:folHlink>
        <a:srgbClr val="CDCDD2"/>
      </a:folHlink>
    </a:clrScheme>
    <a:fontScheme name="CARIAD Fonts">
      <a:majorFont>
        <a:latin typeface="FK CARIAD Light"/>
        <a:ea typeface=""/>
        <a:cs typeface=""/>
      </a:majorFont>
      <a:minorFont>
        <a:latin typeface="FK CARIA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CARIAD Colors">
      <a:dk1>
        <a:srgbClr val="1D0638"/>
      </a:dk1>
      <a:lt1>
        <a:srgbClr val="FFFFFF"/>
      </a:lt1>
      <a:dk2>
        <a:srgbClr val="373741"/>
      </a:dk2>
      <a:lt2>
        <a:srgbClr val="CDCDD2"/>
      </a:lt2>
      <a:accent1>
        <a:srgbClr val="442EE0"/>
      </a:accent1>
      <a:accent2>
        <a:srgbClr val="1EEF97"/>
      </a:accent2>
      <a:accent3>
        <a:srgbClr val="FEF04A"/>
      </a:accent3>
      <a:accent4>
        <a:srgbClr val="1D0638"/>
      </a:accent4>
      <a:accent5>
        <a:srgbClr val="EE4C40"/>
      </a:accent5>
      <a:accent6>
        <a:srgbClr val="1EEF97"/>
      </a:accent6>
      <a:hlink>
        <a:srgbClr val="1D0638"/>
      </a:hlink>
      <a:folHlink>
        <a:srgbClr val="CDCDD2"/>
      </a:folHlink>
    </a:clrScheme>
    <a:fontScheme name="CARIAD Fonts">
      <a:majorFont>
        <a:latin typeface="FK CARIAD Light"/>
        <a:ea typeface=""/>
        <a:cs typeface=""/>
      </a:majorFont>
      <a:minorFont>
        <a:latin typeface="FK CARIA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7C8EF83A7B52419BA4310D91FD979B" ma:contentTypeVersion="17" ma:contentTypeDescription="Create a new document." ma:contentTypeScope="" ma:versionID="3eb8ed3a2edb936ca4ff6d5f1308a638">
  <xsd:schema xmlns:xsd="http://www.w3.org/2001/XMLSchema" xmlns:xs="http://www.w3.org/2001/XMLSchema" xmlns:p="http://schemas.microsoft.com/office/2006/metadata/properties" xmlns:ns2="0c2b34f7-ea7d-4015-b004-54b58f4bf67c" xmlns:ns3="f4719be6-f0cf-42fd-a8ca-b7995c7ce7bb" targetNamespace="http://schemas.microsoft.com/office/2006/metadata/properties" ma:root="true" ma:fieldsID="bc98285a07827742458bd6cec8f0fa33" ns2:_="" ns3:_="">
    <xsd:import namespace="0c2b34f7-ea7d-4015-b004-54b58f4bf67c"/>
    <xsd:import namespace="f4719be6-f0cf-42fd-a8ca-b7995c7ce7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2b34f7-ea7d-4015-b004-54b58f4bf6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3932dce7-e9e6-4752-829d-a28cfede7f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719be6-f0cf-42fd-a8ca-b7995c7ce7b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8cf797a-e2df-4e8f-93e3-dc4048c31f4a}" ma:internalName="TaxCatchAll" ma:showField="CatchAllData" ma:web="f4719be6-f0cf-42fd-a8ca-b7995c7ce7b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4719be6-f0cf-42fd-a8ca-b7995c7ce7bb" xsi:nil="true"/>
    <lcf76f155ced4ddcb4097134ff3c332f xmlns="0c2b34f7-ea7d-4015-b004-54b58f4bf67c">
      <Terms xmlns="http://schemas.microsoft.com/office/infopath/2007/PartnerControls"/>
    </lcf76f155ced4ddcb4097134ff3c332f>
    <SharedWithUsers xmlns="f4719be6-f0cf-42fd-a8ca-b7995c7ce7bb">
      <UserInfo>
        <DisplayName/>
        <AccountId xsi:nil="true"/>
        <AccountType/>
      </UserInfo>
    </SharedWithUsers>
    <MediaLengthInSeconds xmlns="0c2b34f7-ea7d-4015-b004-54b58f4bf67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892FBA-1B9B-4563-B559-697F9DBF74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2b34f7-ea7d-4015-b004-54b58f4bf67c"/>
    <ds:schemaRef ds:uri="f4719be6-f0cf-42fd-a8ca-b7995c7ce7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90DD80-93F3-4B3D-BEB1-3113F905E8EA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f4719be6-f0cf-42fd-a8ca-b7995c7ce7bb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0c2b34f7-ea7d-4015-b004-54b58f4bf67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5E4E95C-E3F8-4FDC-93D7-1768367250C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contentBits="3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8</TotalTime>
  <Words>310</Words>
  <Application>Microsoft Office PowerPoint</Application>
  <PresentationFormat>Widescreen</PresentationFormat>
  <Paragraphs>3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Symbol</vt:lpstr>
      <vt:lpstr>FK CARIAD Light</vt:lpstr>
      <vt:lpstr>Segoe UI</vt:lpstr>
      <vt:lpstr>Arial</vt:lpstr>
      <vt:lpstr>CARIAD</vt:lpstr>
      <vt:lpstr>think-cell Folie</vt:lpstr>
      <vt:lpstr>C++ Functions</vt:lpstr>
      <vt:lpstr>Functions</vt:lpstr>
      <vt:lpstr>Functions</vt:lpstr>
      <vt:lpstr>Practice</vt:lpstr>
      <vt:lpstr>Thank you 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IAD</dc:title>
  <dc:creator>Horvath, Hanns (SD-3)</dc:creator>
  <cp:lastModifiedBy>Jeevan Gopal Shetty</cp:lastModifiedBy>
  <cp:revision>62</cp:revision>
  <dcterms:created xsi:type="dcterms:W3CDTF">2021-04-09T12:20:11Z</dcterms:created>
  <dcterms:modified xsi:type="dcterms:W3CDTF">2025-01-10T06:21:17Z</dcterms:modified>
  <cp:version>1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7C8EF83A7B52419BA4310D91FD979B</vt:lpwstr>
  </property>
  <property fmtid="{D5CDD505-2E9C-101B-9397-08002B2CF9AE}" pid="3" name="RevIMBCS">
    <vt:lpwstr>1;#0.1 Initial category|0239cc7a-0c96-48a8-9e0e-a383e362571c</vt:lpwstr>
  </property>
  <property fmtid="{D5CDD505-2E9C-101B-9397-08002B2CF9AE}" pid="4" name="LegalHoldTag">
    <vt:lpwstr/>
  </property>
  <property fmtid="{D5CDD505-2E9C-101B-9397-08002B2CF9AE}" pid="5" name="MSIP_Label_b1c9b508-7c6e-42bd-bedf-808292653d6c_Enabled">
    <vt:lpwstr>true</vt:lpwstr>
  </property>
  <property fmtid="{D5CDD505-2E9C-101B-9397-08002B2CF9AE}" pid="6" name="MSIP_Label_b1c9b508-7c6e-42bd-bedf-808292653d6c_SetDate">
    <vt:lpwstr>2022-05-13T06:45:54Z</vt:lpwstr>
  </property>
  <property fmtid="{D5CDD505-2E9C-101B-9397-08002B2CF9AE}" pid="7" name="MSIP_Label_b1c9b508-7c6e-42bd-bedf-808292653d6c_Method">
    <vt:lpwstr>Standard</vt:lpwstr>
  </property>
  <property fmtid="{D5CDD505-2E9C-101B-9397-08002B2CF9AE}" pid="8" name="MSIP_Label_b1c9b508-7c6e-42bd-bedf-808292653d6c_Name">
    <vt:lpwstr>b1c9b508-7c6e-42bd-bedf-808292653d6c</vt:lpwstr>
  </property>
  <property fmtid="{D5CDD505-2E9C-101B-9397-08002B2CF9AE}" pid="9" name="MSIP_Label_b1c9b508-7c6e-42bd-bedf-808292653d6c_SiteId">
    <vt:lpwstr>2882be50-2012-4d88-ac86-544124e120c8</vt:lpwstr>
  </property>
  <property fmtid="{D5CDD505-2E9C-101B-9397-08002B2CF9AE}" pid="10" name="MSIP_Label_b1c9b508-7c6e-42bd-bedf-808292653d6c_ActionId">
    <vt:lpwstr>f411644f-f4c8-4ee9-93a2-95ef9bc32c0a</vt:lpwstr>
  </property>
  <property fmtid="{D5CDD505-2E9C-101B-9397-08002B2CF9AE}" pid="11" name="MSIP_Label_b1c9b508-7c6e-42bd-bedf-808292653d6c_ContentBits">
    <vt:lpwstr>3</vt:lpwstr>
  </property>
  <property fmtid="{D5CDD505-2E9C-101B-9397-08002B2CF9AE}" pid="12" name="MediaServiceImageTags">
    <vt:lpwstr/>
  </property>
  <property fmtid="{D5CDD505-2E9C-101B-9397-08002B2CF9AE}" pid="13" name="Order">
    <vt:r8>928000</vt:r8>
  </property>
  <property fmtid="{D5CDD505-2E9C-101B-9397-08002B2CF9AE}" pid="14" name="ComplianceAssetId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</Properties>
</file>